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8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8" r:id="rId2"/>
    <p:sldId id="262" r:id="rId3"/>
    <p:sldId id="265" r:id="rId4"/>
    <p:sldId id="267" r:id="rId5"/>
    <p:sldId id="264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6D7D9"/>
    <a:srgbClr val="C3CFE1"/>
    <a:srgbClr val="6F8DB9"/>
    <a:srgbClr val="364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766588-C161-4217-9A3D-720C5ACA682C}" v="2293" dt="2024-12-01T23:53:58.7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1116" y="6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J Grant" userId="21cab94c-7745-4db5-aa88-56cdc0183ba7" providerId="ADAL" clId="{BA766588-C161-4217-9A3D-720C5ACA682C}"/>
    <pc:docChg chg="undo custSel addSld delSld modSld sldOrd">
      <pc:chgData name="PJ Grant" userId="21cab94c-7745-4db5-aa88-56cdc0183ba7" providerId="ADAL" clId="{BA766588-C161-4217-9A3D-720C5ACA682C}" dt="2024-12-01T23:54:24.933" v="10072"/>
      <pc:docMkLst>
        <pc:docMk/>
      </pc:docMkLst>
      <pc:sldChg chg="addSp delSp modSp mod">
        <pc:chgData name="PJ Grant" userId="21cab94c-7745-4db5-aa88-56cdc0183ba7" providerId="ADAL" clId="{BA766588-C161-4217-9A3D-720C5ACA682C}" dt="2024-12-01T23:54:24.933" v="10072"/>
        <pc:sldMkLst>
          <pc:docMk/>
          <pc:sldMk cId="1548672113" sldId="262"/>
        </pc:sldMkLst>
        <pc:spChg chg="mod ord">
          <ac:chgData name="PJ Grant" userId="21cab94c-7745-4db5-aa88-56cdc0183ba7" providerId="ADAL" clId="{BA766588-C161-4217-9A3D-720C5ACA682C}" dt="2024-12-01T19:19:30.346" v="1377"/>
          <ac:spMkLst>
            <pc:docMk/>
            <pc:sldMk cId="1548672113" sldId="262"/>
            <ac:spMk id="2" creationId="{9AADBF26-6873-9B17-C58A-86B9E108D556}"/>
          </ac:spMkLst>
        </pc:spChg>
        <pc:spChg chg="mod ord">
          <ac:chgData name="PJ Grant" userId="21cab94c-7745-4db5-aa88-56cdc0183ba7" providerId="ADAL" clId="{BA766588-C161-4217-9A3D-720C5ACA682C}" dt="2024-12-01T19:19:30.346" v="1379"/>
          <ac:spMkLst>
            <pc:docMk/>
            <pc:sldMk cId="1548672113" sldId="262"/>
            <ac:spMk id="3" creationId="{247A5BDF-10D8-8733-DADA-D9C46D00010C}"/>
          </ac:spMkLst>
        </pc:spChg>
        <pc:spChg chg="mod ord">
          <ac:chgData name="PJ Grant" userId="21cab94c-7745-4db5-aa88-56cdc0183ba7" providerId="ADAL" clId="{BA766588-C161-4217-9A3D-720C5ACA682C}" dt="2024-12-01T19:19:30.347" v="1381"/>
          <ac:spMkLst>
            <pc:docMk/>
            <pc:sldMk cId="1548672113" sldId="262"/>
            <ac:spMk id="9" creationId="{6F750A03-3F35-60A3-82B8-2680356BB2B5}"/>
          </ac:spMkLst>
        </pc:spChg>
        <pc:spChg chg="mod ord">
          <ac:chgData name="PJ Grant" userId="21cab94c-7745-4db5-aa88-56cdc0183ba7" providerId="ADAL" clId="{BA766588-C161-4217-9A3D-720C5ACA682C}" dt="2024-12-01T19:19:30.347" v="1383"/>
          <ac:spMkLst>
            <pc:docMk/>
            <pc:sldMk cId="1548672113" sldId="262"/>
            <ac:spMk id="10" creationId="{95B79511-0CC1-69B8-A2A6-D7EE6B9ED9DF}"/>
          </ac:spMkLst>
        </pc:spChg>
        <pc:spChg chg="mod ord">
          <ac:chgData name="PJ Grant" userId="21cab94c-7745-4db5-aa88-56cdc0183ba7" providerId="ADAL" clId="{BA766588-C161-4217-9A3D-720C5ACA682C}" dt="2024-12-01T23:53:50.420" v="10057" actId="20577"/>
          <ac:spMkLst>
            <pc:docMk/>
            <pc:sldMk cId="1548672113" sldId="262"/>
            <ac:spMk id="12" creationId="{3D9E6D2F-E9D3-18F8-C5A1-1DFB10FC62A8}"/>
          </ac:spMkLst>
        </pc:spChg>
        <pc:spChg chg="mod">
          <ac:chgData name="PJ Grant" userId="21cab94c-7745-4db5-aa88-56cdc0183ba7" providerId="ADAL" clId="{BA766588-C161-4217-9A3D-720C5ACA682C}" dt="2024-12-01T19:19:30.353" v="1408"/>
          <ac:spMkLst>
            <pc:docMk/>
            <pc:sldMk cId="1548672113" sldId="262"/>
            <ac:spMk id="109" creationId="{A7EA2D17-E561-5CB2-CA0B-92D49BCE3FC9}"/>
          </ac:spMkLst>
        </pc:spChg>
        <pc:spChg chg="mod">
          <ac:chgData name="PJ Grant" userId="21cab94c-7745-4db5-aa88-56cdc0183ba7" providerId="ADAL" clId="{BA766588-C161-4217-9A3D-720C5ACA682C}" dt="2024-12-01T19:19:30.349" v="1390"/>
          <ac:spMkLst>
            <pc:docMk/>
            <pc:sldMk cId="1548672113" sldId="262"/>
            <ac:spMk id="110" creationId="{5A039BE4-B19B-238D-E78E-A2E7FFDD4F8A}"/>
          </ac:spMkLst>
        </pc:spChg>
        <pc:spChg chg="mod">
          <ac:chgData name="PJ Grant" userId="21cab94c-7745-4db5-aa88-56cdc0183ba7" providerId="ADAL" clId="{BA766588-C161-4217-9A3D-720C5ACA682C}" dt="2024-12-01T19:19:30.349" v="1391"/>
          <ac:spMkLst>
            <pc:docMk/>
            <pc:sldMk cId="1548672113" sldId="262"/>
            <ac:spMk id="111" creationId="{0FDB2750-3C49-C316-DBFE-30F8407DE2E8}"/>
          </ac:spMkLst>
        </pc:spChg>
        <pc:spChg chg="mod ord">
          <ac:chgData name="PJ Grant" userId="21cab94c-7745-4db5-aa88-56cdc0183ba7" providerId="ADAL" clId="{BA766588-C161-4217-9A3D-720C5ACA682C}" dt="2024-12-01T19:19:30.351" v="1401"/>
          <ac:spMkLst>
            <pc:docMk/>
            <pc:sldMk cId="1548672113" sldId="262"/>
            <ac:spMk id="115" creationId="{D20E21A3-871E-A8C7-4960-44141FCFCEE4}"/>
          </ac:spMkLst>
        </pc:spChg>
        <pc:spChg chg="mod">
          <ac:chgData name="PJ Grant" userId="21cab94c-7745-4db5-aa88-56cdc0183ba7" providerId="ADAL" clId="{BA766588-C161-4217-9A3D-720C5ACA682C}" dt="2024-12-01T19:19:30.355" v="1414"/>
          <ac:spMkLst>
            <pc:docMk/>
            <pc:sldMk cId="1548672113" sldId="262"/>
            <ac:spMk id="135" creationId="{5E93CC41-E495-87CD-3C93-DDB71C03B183}"/>
          </ac:spMkLst>
        </pc:spChg>
        <pc:spChg chg="mod">
          <ac:chgData name="PJ Grant" userId="21cab94c-7745-4db5-aa88-56cdc0183ba7" providerId="ADAL" clId="{BA766588-C161-4217-9A3D-720C5ACA682C}" dt="2024-12-01T19:19:30.355" v="1415"/>
          <ac:spMkLst>
            <pc:docMk/>
            <pc:sldMk cId="1548672113" sldId="262"/>
            <ac:spMk id="136" creationId="{5398725C-EFDC-436F-1E1C-320907BE175E}"/>
          </ac:spMkLst>
        </pc:spChg>
        <pc:spChg chg="mod ord">
          <ac:chgData name="PJ Grant" userId="21cab94c-7745-4db5-aa88-56cdc0183ba7" providerId="ADAL" clId="{BA766588-C161-4217-9A3D-720C5ACA682C}" dt="2024-12-01T23:53:47.687" v="10055" actId="20577"/>
          <ac:spMkLst>
            <pc:docMk/>
            <pc:sldMk cId="1548672113" sldId="262"/>
            <ac:spMk id="148" creationId="{DE8F6BF3-C5C8-C36C-2FA8-567C946F4BA1}"/>
          </ac:spMkLst>
        </pc:spChg>
        <pc:spChg chg="mod ord">
          <ac:chgData name="PJ Grant" userId="21cab94c-7745-4db5-aa88-56cdc0183ba7" providerId="ADAL" clId="{BA766588-C161-4217-9A3D-720C5ACA682C}" dt="2024-12-01T19:52:55.309" v="6623" actId="14100"/>
          <ac:spMkLst>
            <pc:docMk/>
            <pc:sldMk cId="1548672113" sldId="262"/>
            <ac:spMk id="156" creationId="{E8986118-981E-C2C9-57CA-FC64899A25ED}"/>
          </ac:spMkLst>
        </pc:spChg>
        <pc:spChg chg="mod ord">
          <ac:chgData name="PJ Grant" userId="21cab94c-7745-4db5-aa88-56cdc0183ba7" providerId="ADAL" clId="{BA766588-C161-4217-9A3D-720C5ACA682C}" dt="2024-12-01T23:54:24.142" v="10070" actId="113"/>
          <ac:spMkLst>
            <pc:docMk/>
            <pc:sldMk cId="1548672113" sldId="262"/>
            <ac:spMk id="160" creationId="{F6726AC6-7AC8-CEDA-977A-F8BA87A28F21}"/>
          </ac:spMkLst>
        </pc:spChg>
        <pc:spChg chg="mod">
          <ac:chgData name="PJ Grant" userId="21cab94c-7745-4db5-aa88-56cdc0183ba7" providerId="ADAL" clId="{BA766588-C161-4217-9A3D-720C5ACA682C}" dt="2024-12-01T19:19:30.350" v="1392"/>
          <ac:spMkLst>
            <pc:docMk/>
            <pc:sldMk cId="1548672113" sldId="262"/>
            <ac:spMk id="177" creationId="{6151FCB7-6D82-3937-A3FD-154D041A31F7}"/>
          </ac:spMkLst>
        </pc:spChg>
        <pc:spChg chg="mod">
          <ac:chgData name="PJ Grant" userId="21cab94c-7745-4db5-aa88-56cdc0183ba7" providerId="ADAL" clId="{BA766588-C161-4217-9A3D-720C5ACA682C}" dt="2024-12-01T19:19:30.350" v="1393"/>
          <ac:spMkLst>
            <pc:docMk/>
            <pc:sldMk cId="1548672113" sldId="262"/>
            <ac:spMk id="181" creationId="{5E7FC4DF-C099-248F-1894-7F2CF7AE7B9B}"/>
          </ac:spMkLst>
        </pc:spChg>
        <pc:spChg chg="mod">
          <ac:chgData name="PJ Grant" userId="21cab94c-7745-4db5-aa88-56cdc0183ba7" providerId="ADAL" clId="{BA766588-C161-4217-9A3D-720C5ACA682C}" dt="2024-12-01T19:19:30.353" v="1409"/>
          <ac:spMkLst>
            <pc:docMk/>
            <pc:sldMk cId="1548672113" sldId="262"/>
            <ac:spMk id="188" creationId="{0FA9610E-A457-1A9E-2DE1-1EB969E24A7A}"/>
          </ac:spMkLst>
        </pc:spChg>
        <pc:spChg chg="mod">
          <ac:chgData name="PJ Grant" userId="21cab94c-7745-4db5-aa88-56cdc0183ba7" providerId="ADAL" clId="{BA766588-C161-4217-9A3D-720C5ACA682C}" dt="2024-12-01T19:19:30.350" v="1394"/>
          <ac:spMkLst>
            <pc:docMk/>
            <pc:sldMk cId="1548672113" sldId="262"/>
            <ac:spMk id="189" creationId="{DB0CEA52-5329-8D92-2952-435B0524E8AD}"/>
          </ac:spMkLst>
        </pc:spChg>
        <pc:spChg chg="mod">
          <ac:chgData name="PJ Grant" userId="21cab94c-7745-4db5-aa88-56cdc0183ba7" providerId="ADAL" clId="{BA766588-C161-4217-9A3D-720C5ACA682C}" dt="2024-12-01T19:19:30.350" v="1395"/>
          <ac:spMkLst>
            <pc:docMk/>
            <pc:sldMk cId="1548672113" sldId="262"/>
            <ac:spMk id="190" creationId="{A7F87DB9-AF87-FAF6-E9D9-CE7AB124CEBD}"/>
          </ac:spMkLst>
        </pc:spChg>
        <pc:spChg chg="mod ord">
          <ac:chgData name="PJ Grant" userId="21cab94c-7745-4db5-aa88-56cdc0183ba7" providerId="ADAL" clId="{BA766588-C161-4217-9A3D-720C5ACA682C}" dt="2024-12-01T19:19:30.352" v="1403"/>
          <ac:spMkLst>
            <pc:docMk/>
            <pc:sldMk cId="1548672113" sldId="262"/>
            <ac:spMk id="193" creationId="{B2B42245-A4AE-D9D6-F975-2D00F0042468}"/>
          </ac:spMkLst>
        </pc:spChg>
        <pc:spChg chg="mod">
          <ac:chgData name="PJ Grant" userId="21cab94c-7745-4db5-aa88-56cdc0183ba7" providerId="ADAL" clId="{BA766588-C161-4217-9A3D-720C5ACA682C}" dt="2024-12-01T19:19:30.354" v="1410"/>
          <ac:spMkLst>
            <pc:docMk/>
            <pc:sldMk cId="1548672113" sldId="262"/>
            <ac:spMk id="194" creationId="{A0D5C78C-3EE2-FC5B-89CF-951B6AE26B42}"/>
          </ac:spMkLst>
        </pc:spChg>
        <pc:spChg chg="mod">
          <ac:chgData name="PJ Grant" userId="21cab94c-7745-4db5-aa88-56cdc0183ba7" providerId="ADAL" clId="{BA766588-C161-4217-9A3D-720C5ACA682C}" dt="2024-12-01T19:19:30.350" v="1396"/>
          <ac:spMkLst>
            <pc:docMk/>
            <pc:sldMk cId="1548672113" sldId="262"/>
            <ac:spMk id="195" creationId="{62AC3C11-8C4E-D8DC-5A07-85CF2CD988AB}"/>
          </ac:spMkLst>
        </pc:spChg>
        <pc:spChg chg="mod">
          <ac:chgData name="PJ Grant" userId="21cab94c-7745-4db5-aa88-56cdc0183ba7" providerId="ADAL" clId="{BA766588-C161-4217-9A3D-720C5ACA682C}" dt="2024-12-01T19:19:30.350" v="1397"/>
          <ac:spMkLst>
            <pc:docMk/>
            <pc:sldMk cId="1548672113" sldId="262"/>
            <ac:spMk id="196" creationId="{DE330267-26E5-BF4C-1880-FC343F9855E3}"/>
          </ac:spMkLst>
        </pc:spChg>
        <pc:spChg chg="mod ord">
          <ac:chgData name="PJ Grant" userId="21cab94c-7745-4db5-aa88-56cdc0183ba7" providerId="ADAL" clId="{BA766588-C161-4217-9A3D-720C5ACA682C}" dt="2024-12-01T19:19:30.352" v="1405"/>
          <ac:spMkLst>
            <pc:docMk/>
            <pc:sldMk cId="1548672113" sldId="262"/>
            <ac:spMk id="199" creationId="{A3A31776-5553-F23C-C2F4-8E23713B0B0D}"/>
          </ac:spMkLst>
        </pc:spChg>
        <pc:spChg chg="mod">
          <ac:chgData name="PJ Grant" userId="21cab94c-7745-4db5-aa88-56cdc0183ba7" providerId="ADAL" clId="{BA766588-C161-4217-9A3D-720C5ACA682C}" dt="2024-12-01T19:19:30.354" v="1411"/>
          <ac:spMkLst>
            <pc:docMk/>
            <pc:sldMk cId="1548672113" sldId="262"/>
            <ac:spMk id="200" creationId="{E24B816C-49EF-6299-6DAD-99B21D4F9D8B}"/>
          </ac:spMkLst>
        </pc:spChg>
        <pc:spChg chg="mod">
          <ac:chgData name="PJ Grant" userId="21cab94c-7745-4db5-aa88-56cdc0183ba7" providerId="ADAL" clId="{BA766588-C161-4217-9A3D-720C5ACA682C}" dt="2024-12-01T19:19:30.351" v="1398"/>
          <ac:spMkLst>
            <pc:docMk/>
            <pc:sldMk cId="1548672113" sldId="262"/>
            <ac:spMk id="201" creationId="{68D7F95A-11B9-F9D3-B82E-4CF9572CA51A}"/>
          </ac:spMkLst>
        </pc:spChg>
        <pc:spChg chg="mod">
          <ac:chgData name="PJ Grant" userId="21cab94c-7745-4db5-aa88-56cdc0183ba7" providerId="ADAL" clId="{BA766588-C161-4217-9A3D-720C5ACA682C}" dt="2024-12-01T19:19:30.351" v="1399"/>
          <ac:spMkLst>
            <pc:docMk/>
            <pc:sldMk cId="1548672113" sldId="262"/>
            <ac:spMk id="202" creationId="{D94DC5AD-E4E9-0E23-9C6C-99F9E0D2DD80}"/>
          </ac:spMkLst>
        </pc:spChg>
        <pc:spChg chg="mod ord">
          <ac:chgData name="PJ Grant" userId="21cab94c-7745-4db5-aa88-56cdc0183ba7" providerId="ADAL" clId="{BA766588-C161-4217-9A3D-720C5ACA682C}" dt="2024-12-01T19:19:30.353" v="1407"/>
          <ac:spMkLst>
            <pc:docMk/>
            <pc:sldMk cId="1548672113" sldId="262"/>
            <ac:spMk id="205" creationId="{1C4D6186-C78D-26BF-EC5E-9D8598ED7862}"/>
          </ac:spMkLst>
        </pc:spChg>
        <pc:spChg chg="mod">
          <ac:chgData name="PJ Grant" userId="21cab94c-7745-4db5-aa88-56cdc0183ba7" providerId="ADAL" clId="{BA766588-C161-4217-9A3D-720C5ACA682C}" dt="2024-12-01T19:19:30.355" v="1416"/>
          <ac:spMkLst>
            <pc:docMk/>
            <pc:sldMk cId="1548672113" sldId="262"/>
            <ac:spMk id="230" creationId="{A80E509F-B0A2-1F81-6911-F1BCE8869746}"/>
          </ac:spMkLst>
        </pc:spChg>
        <pc:spChg chg="mod">
          <ac:chgData name="PJ Grant" userId="21cab94c-7745-4db5-aa88-56cdc0183ba7" providerId="ADAL" clId="{BA766588-C161-4217-9A3D-720C5ACA682C}" dt="2024-12-01T19:19:30.355" v="1417"/>
          <ac:spMkLst>
            <pc:docMk/>
            <pc:sldMk cId="1548672113" sldId="262"/>
            <ac:spMk id="239" creationId="{102536FE-B144-B7B0-D718-FC26165F5775}"/>
          </ac:spMkLst>
        </pc:spChg>
        <pc:spChg chg="mod">
          <ac:chgData name="PJ Grant" userId="21cab94c-7745-4db5-aa88-56cdc0183ba7" providerId="ADAL" clId="{BA766588-C161-4217-9A3D-720C5ACA682C}" dt="2024-12-01T19:19:30.356" v="1418"/>
          <ac:spMkLst>
            <pc:docMk/>
            <pc:sldMk cId="1548672113" sldId="262"/>
            <ac:spMk id="240" creationId="{6842D33F-C2D4-CD82-F342-ACC46329DD58}"/>
          </ac:spMkLst>
        </pc:spChg>
        <pc:spChg chg="mod">
          <ac:chgData name="PJ Grant" userId="21cab94c-7745-4db5-aa88-56cdc0183ba7" providerId="ADAL" clId="{BA766588-C161-4217-9A3D-720C5ACA682C}" dt="2024-12-01T19:19:30.356" v="1419"/>
          <ac:spMkLst>
            <pc:docMk/>
            <pc:sldMk cId="1548672113" sldId="262"/>
            <ac:spMk id="241" creationId="{3A636C8B-C469-BA7F-3A2C-173D1B4FDB1F}"/>
          </ac:spMkLst>
        </pc:spChg>
        <pc:spChg chg="mod">
          <ac:chgData name="PJ Grant" userId="21cab94c-7745-4db5-aa88-56cdc0183ba7" providerId="ADAL" clId="{BA766588-C161-4217-9A3D-720C5ACA682C}" dt="2024-12-01T19:19:30.356" v="1420"/>
          <ac:spMkLst>
            <pc:docMk/>
            <pc:sldMk cId="1548672113" sldId="262"/>
            <ac:spMk id="242" creationId="{972F1B68-C3DF-044D-AFB7-437EAAA59327}"/>
          </ac:spMkLst>
        </pc:spChg>
        <pc:spChg chg="mod">
          <ac:chgData name="PJ Grant" userId="21cab94c-7745-4db5-aa88-56cdc0183ba7" providerId="ADAL" clId="{BA766588-C161-4217-9A3D-720C5ACA682C}" dt="2024-12-01T19:19:30.356" v="1421"/>
          <ac:spMkLst>
            <pc:docMk/>
            <pc:sldMk cId="1548672113" sldId="262"/>
            <ac:spMk id="243" creationId="{6D544A9E-03C2-E76C-1129-C92B8426B500}"/>
          </ac:spMkLst>
        </pc:spChg>
        <pc:spChg chg="mod">
          <ac:chgData name="PJ Grant" userId="21cab94c-7745-4db5-aa88-56cdc0183ba7" providerId="ADAL" clId="{BA766588-C161-4217-9A3D-720C5ACA682C}" dt="2024-12-01T19:19:30.357" v="1422"/>
          <ac:spMkLst>
            <pc:docMk/>
            <pc:sldMk cId="1548672113" sldId="262"/>
            <ac:spMk id="244" creationId="{25910B48-6B5D-1B95-4BF1-1B0CA1D7D1A6}"/>
          </ac:spMkLst>
        </pc:spChg>
        <pc:spChg chg="mod">
          <ac:chgData name="PJ Grant" userId="21cab94c-7745-4db5-aa88-56cdc0183ba7" providerId="ADAL" clId="{BA766588-C161-4217-9A3D-720C5ACA682C}" dt="2024-12-01T19:19:30.357" v="1423"/>
          <ac:spMkLst>
            <pc:docMk/>
            <pc:sldMk cId="1548672113" sldId="262"/>
            <ac:spMk id="245" creationId="{4D6FEB52-5DA0-921C-1A8E-D007B3AC0654}"/>
          </ac:spMkLst>
        </pc:spChg>
        <pc:spChg chg="mod ord">
          <ac:chgData name="PJ Grant" userId="21cab94c-7745-4db5-aa88-56cdc0183ba7" providerId="ADAL" clId="{BA766588-C161-4217-9A3D-720C5ACA682C}" dt="2024-12-01T23:53:24.716" v="10024" actId="14100"/>
          <ac:spMkLst>
            <pc:docMk/>
            <pc:sldMk cId="1548672113" sldId="262"/>
            <ac:spMk id="247" creationId="{799912D5-2EFF-BC60-8CCA-F4214179BF0D}"/>
          </ac:spMkLst>
        </pc:spChg>
        <pc:spChg chg="mod ord">
          <ac:chgData name="PJ Grant" userId="21cab94c-7745-4db5-aa88-56cdc0183ba7" providerId="ADAL" clId="{BA766588-C161-4217-9A3D-720C5ACA682C}" dt="2024-12-01T23:53:33.567" v="10045" actId="14100"/>
          <ac:spMkLst>
            <pc:docMk/>
            <pc:sldMk cId="1548672113" sldId="262"/>
            <ac:spMk id="248" creationId="{DBCE5770-2A36-B900-4B3E-E8FDF5CA2189}"/>
          </ac:spMkLst>
        </pc:spChg>
        <pc:spChg chg="mod ord">
          <ac:chgData name="PJ Grant" userId="21cab94c-7745-4db5-aa88-56cdc0183ba7" providerId="ADAL" clId="{BA766588-C161-4217-9A3D-720C5ACA682C}" dt="2024-12-01T19:19:30.361" v="1437"/>
          <ac:spMkLst>
            <pc:docMk/>
            <pc:sldMk cId="1548672113" sldId="262"/>
            <ac:spMk id="307" creationId="{1DA08B57-BA2A-D4C2-58CF-9E49A79C79CC}"/>
          </ac:spMkLst>
        </pc:spChg>
        <pc:spChg chg="mod ord">
          <ac:chgData name="PJ Grant" userId="21cab94c-7745-4db5-aa88-56cdc0183ba7" providerId="ADAL" clId="{BA766588-C161-4217-9A3D-720C5ACA682C}" dt="2024-12-01T19:19:30.364" v="1447"/>
          <ac:spMkLst>
            <pc:docMk/>
            <pc:sldMk cId="1548672113" sldId="262"/>
            <ac:spMk id="325" creationId="{2D593ED2-706D-70A7-217A-A6DE93B57FB1}"/>
          </ac:spMkLst>
        </pc:spChg>
        <pc:spChg chg="mod ord">
          <ac:chgData name="PJ Grant" userId="21cab94c-7745-4db5-aa88-56cdc0183ba7" providerId="ADAL" clId="{BA766588-C161-4217-9A3D-720C5ACA682C}" dt="2024-12-01T19:52:47.247" v="6621" actId="1076"/>
          <ac:spMkLst>
            <pc:docMk/>
            <pc:sldMk cId="1548672113" sldId="262"/>
            <ac:spMk id="341" creationId="{97A2A409-832E-AC23-4BB7-7B21F4ADE6A1}"/>
          </ac:spMkLst>
        </pc:spChg>
        <pc:spChg chg="mod ord">
          <ac:chgData name="PJ Grant" userId="21cab94c-7745-4db5-aa88-56cdc0183ba7" providerId="ADAL" clId="{BA766588-C161-4217-9A3D-720C5ACA682C}" dt="2024-12-01T19:52:55.309" v="6623" actId="14100"/>
          <ac:spMkLst>
            <pc:docMk/>
            <pc:sldMk cId="1548672113" sldId="262"/>
            <ac:spMk id="343" creationId="{35E21425-C605-007C-7227-3BEE64EFF7C1}"/>
          </ac:spMkLst>
        </pc:spChg>
        <pc:spChg chg="add del mod modVis">
          <ac:chgData name="PJ Grant" userId="21cab94c-7745-4db5-aa88-56cdc0183ba7" providerId="ADAL" clId="{BA766588-C161-4217-9A3D-720C5ACA682C}" dt="2024-12-01T19:17:11.148" v="796"/>
          <ac:spMkLst>
            <pc:docMk/>
            <pc:sldMk cId="1548672113" sldId="262"/>
            <ac:spMk id="344" creationId="{AE6C915B-2E2E-651D-705C-CFDDF423CC18}"/>
          </ac:spMkLst>
        </pc:spChg>
        <pc:spChg chg="add del mod modVis">
          <ac:chgData name="PJ Grant" userId="21cab94c-7745-4db5-aa88-56cdc0183ba7" providerId="ADAL" clId="{BA766588-C161-4217-9A3D-720C5ACA682C}" dt="2024-12-01T19:18:18.316" v="826"/>
          <ac:spMkLst>
            <pc:docMk/>
            <pc:sldMk cId="1548672113" sldId="262"/>
            <ac:spMk id="345" creationId="{52565DB5-BF33-0058-E6F5-27B14BA05C12}"/>
          </ac:spMkLst>
        </pc:spChg>
        <pc:spChg chg="add del mod modVis">
          <ac:chgData name="PJ Grant" userId="21cab94c-7745-4db5-aa88-56cdc0183ba7" providerId="ADAL" clId="{BA766588-C161-4217-9A3D-720C5ACA682C}" dt="2024-12-01T19:18:24.827" v="859"/>
          <ac:spMkLst>
            <pc:docMk/>
            <pc:sldMk cId="1548672113" sldId="262"/>
            <ac:spMk id="346" creationId="{1EA4F068-CB85-9648-80AA-158EE8B6E2D7}"/>
          </ac:spMkLst>
        </pc:spChg>
        <pc:spChg chg="add del mod modVis">
          <ac:chgData name="PJ Grant" userId="21cab94c-7745-4db5-aa88-56cdc0183ba7" providerId="ADAL" clId="{BA766588-C161-4217-9A3D-720C5ACA682C}" dt="2024-12-01T19:18:31.617" v="903"/>
          <ac:spMkLst>
            <pc:docMk/>
            <pc:sldMk cId="1548672113" sldId="262"/>
            <ac:spMk id="347" creationId="{C74DF57E-E2AC-1831-D3ED-0C701A60EA5D}"/>
          </ac:spMkLst>
        </pc:spChg>
        <pc:spChg chg="add del mod modVis">
          <ac:chgData name="PJ Grant" userId="21cab94c-7745-4db5-aa88-56cdc0183ba7" providerId="ADAL" clId="{BA766588-C161-4217-9A3D-720C5ACA682C}" dt="2024-12-01T19:18:32.949" v="936"/>
          <ac:spMkLst>
            <pc:docMk/>
            <pc:sldMk cId="1548672113" sldId="262"/>
            <ac:spMk id="348" creationId="{34D46C50-9DF6-030B-F513-E4DB96CB1593}"/>
          </ac:spMkLst>
        </pc:spChg>
        <pc:spChg chg="add del mod modVis">
          <ac:chgData name="PJ Grant" userId="21cab94c-7745-4db5-aa88-56cdc0183ba7" providerId="ADAL" clId="{BA766588-C161-4217-9A3D-720C5ACA682C}" dt="2024-12-01T19:18:34.659" v="971"/>
          <ac:spMkLst>
            <pc:docMk/>
            <pc:sldMk cId="1548672113" sldId="262"/>
            <ac:spMk id="349" creationId="{ADE4F072-5CA4-CA2F-8403-1D65D7F5134D}"/>
          </ac:spMkLst>
        </pc:spChg>
        <pc:spChg chg="add del mod modVis">
          <ac:chgData name="PJ Grant" userId="21cab94c-7745-4db5-aa88-56cdc0183ba7" providerId="ADAL" clId="{BA766588-C161-4217-9A3D-720C5ACA682C}" dt="2024-12-01T19:18:36.950" v="1001"/>
          <ac:spMkLst>
            <pc:docMk/>
            <pc:sldMk cId="1548672113" sldId="262"/>
            <ac:spMk id="350" creationId="{F6EB9F6F-AAEC-6C7F-8A8B-E99A02695A0C}"/>
          </ac:spMkLst>
        </pc:spChg>
        <pc:spChg chg="add del mod modVis">
          <ac:chgData name="PJ Grant" userId="21cab94c-7745-4db5-aa88-56cdc0183ba7" providerId="ADAL" clId="{BA766588-C161-4217-9A3D-720C5ACA682C}" dt="2024-12-01T19:18:39.353" v="1036"/>
          <ac:spMkLst>
            <pc:docMk/>
            <pc:sldMk cId="1548672113" sldId="262"/>
            <ac:spMk id="351" creationId="{4728CEFA-9888-E7ED-B086-D3FC31F09C94}"/>
          </ac:spMkLst>
        </pc:spChg>
        <pc:spChg chg="add del mod modVis">
          <ac:chgData name="PJ Grant" userId="21cab94c-7745-4db5-aa88-56cdc0183ba7" providerId="ADAL" clId="{BA766588-C161-4217-9A3D-720C5ACA682C}" dt="2024-12-01T19:18:42.206" v="1082"/>
          <ac:spMkLst>
            <pc:docMk/>
            <pc:sldMk cId="1548672113" sldId="262"/>
            <ac:spMk id="352" creationId="{03FDBB63-9E77-FC63-FF6F-DA62EED9A7BC}"/>
          </ac:spMkLst>
        </pc:spChg>
        <pc:spChg chg="add del mod modVis">
          <ac:chgData name="PJ Grant" userId="21cab94c-7745-4db5-aa88-56cdc0183ba7" providerId="ADAL" clId="{BA766588-C161-4217-9A3D-720C5ACA682C}" dt="2024-12-01T19:18:44.092" v="1121"/>
          <ac:spMkLst>
            <pc:docMk/>
            <pc:sldMk cId="1548672113" sldId="262"/>
            <ac:spMk id="353" creationId="{753AB87B-987B-DF78-8DF4-F4AD8E8F5EC4}"/>
          </ac:spMkLst>
        </pc:spChg>
        <pc:spChg chg="add del mod modVis">
          <ac:chgData name="PJ Grant" userId="21cab94c-7745-4db5-aa88-56cdc0183ba7" providerId="ADAL" clId="{BA766588-C161-4217-9A3D-720C5ACA682C}" dt="2024-12-01T19:18:45.816" v="1157"/>
          <ac:spMkLst>
            <pc:docMk/>
            <pc:sldMk cId="1548672113" sldId="262"/>
            <ac:spMk id="354" creationId="{DF1B32E5-C1C0-B4F3-FEE7-AC206012D01B}"/>
          </ac:spMkLst>
        </pc:spChg>
        <pc:spChg chg="add del mod modVis">
          <ac:chgData name="PJ Grant" userId="21cab94c-7745-4db5-aa88-56cdc0183ba7" providerId="ADAL" clId="{BA766588-C161-4217-9A3D-720C5ACA682C}" dt="2024-12-01T19:19:22.502" v="1314"/>
          <ac:spMkLst>
            <pc:docMk/>
            <pc:sldMk cId="1548672113" sldId="262"/>
            <ac:spMk id="355" creationId="{E18A0C5E-3F78-3E7A-5712-883A9C7E9E88}"/>
          </ac:spMkLst>
        </pc:spChg>
        <pc:spChg chg="add del mod modVis">
          <ac:chgData name="PJ Grant" userId="21cab94c-7745-4db5-aa88-56cdc0183ba7" providerId="ADAL" clId="{BA766588-C161-4217-9A3D-720C5ACA682C}" dt="2024-12-01T19:19:30.367" v="1461"/>
          <ac:spMkLst>
            <pc:docMk/>
            <pc:sldMk cId="1548672113" sldId="262"/>
            <ac:spMk id="357" creationId="{A3B02779-4571-90BB-C65E-33A0BB638538}"/>
          </ac:spMkLst>
        </pc:spChg>
        <pc:spChg chg="add del mod">
          <ac:chgData name="PJ Grant" userId="21cab94c-7745-4db5-aa88-56cdc0183ba7" providerId="ADAL" clId="{BA766588-C161-4217-9A3D-720C5ACA682C}" dt="2024-12-01T23:54:24.933" v="10072"/>
          <ac:spMkLst>
            <pc:docMk/>
            <pc:sldMk cId="1548672113" sldId="262"/>
            <ac:spMk id="359" creationId="{A8F7AFFF-FE3F-C771-1E25-2219C2543E29}"/>
          </ac:spMkLst>
        </pc:spChg>
        <pc:grpChg chg="mod ord">
          <ac:chgData name="PJ Grant" userId="21cab94c-7745-4db5-aa88-56cdc0183ba7" providerId="ADAL" clId="{BA766588-C161-4217-9A3D-720C5ACA682C}" dt="2024-12-01T19:19:30.362" v="1439"/>
          <ac:grpSpMkLst>
            <pc:docMk/>
            <pc:sldMk cId="1548672113" sldId="262"/>
            <ac:grpSpMk id="321" creationId="{F3BC2112-15F4-C494-6A15-31F3B44D9993}"/>
          </ac:grpSpMkLst>
        </pc:grpChg>
        <pc:grpChg chg="mod ord">
          <ac:chgData name="PJ Grant" userId="21cab94c-7745-4db5-aa88-56cdc0183ba7" providerId="ADAL" clId="{BA766588-C161-4217-9A3D-720C5ACA682C}" dt="2024-12-01T19:19:30.363" v="1441"/>
          <ac:grpSpMkLst>
            <pc:docMk/>
            <pc:sldMk cId="1548672113" sldId="262"/>
            <ac:grpSpMk id="322" creationId="{36CFFD23-9EEF-AB9D-5C24-480B0EC119AC}"/>
          </ac:grpSpMkLst>
        </pc:grpChg>
        <pc:grpChg chg="mod ord">
          <ac:chgData name="PJ Grant" userId="21cab94c-7745-4db5-aa88-56cdc0183ba7" providerId="ADAL" clId="{BA766588-C161-4217-9A3D-720C5ACA682C}" dt="2024-12-01T19:19:30.363" v="1443"/>
          <ac:grpSpMkLst>
            <pc:docMk/>
            <pc:sldMk cId="1548672113" sldId="262"/>
            <ac:grpSpMk id="323" creationId="{3857E3E9-C970-C809-4C08-8812FF43AB49}"/>
          </ac:grpSpMkLst>
        </pc:grpChg>
        <pc:grpChg chg="mod ord">
          <ac:chgData name="PJ Grant" userId="21cab94c-7745-4db5-aa88-56cdc0183ba7" providerId="ADAL" clId="{BA766588-C161-4217-9A3D-720C5ACA682C}" dt="2024-12-01T19:19:30.364" v="1445"/>
          <ac:grpSpMkLst>
            <pc:docMk/>
            <pc:sldMk cId="1548672113" sldId="262"/>
            <ac:grpSpMk id="324" creationId="{F98D1BEE-318E-5A0B-9647-89C20D7AAE28}"/>
          </ac:grpSpMkLst>
        </pc:grpChg>
        <pc:grpChg chg="mod ord">
          <ac:chgData name="PJ Grant" userId="21cab94c-7745-4db5-aa88-56cdc0183ba7" providerId="ADAL" clId="{BA766588-C161-4217-9A3D-720C5ACA682C}" dt="2024-12-01T19:19:30.365" v="1449"/>
          <ac:grpSpMkLst>
            <pc:docMk/>
            <pc:sldMk cId="1548672113" sldId="262"/>
            <ac:grpSpMk id="326" creationId="{CEC5DC52-253B-7658-B226-634D8789CD84}"/>
          </ac:grpSpMkLst>
        </pc:grpChg>
        <pc:grpChg chg="mod ord">
          <ac:chgData name="PJ Grant" userId="21cab94c-7745-4db5-aa88-56cdc0183ba7" providerId="ADAL" clId="{BA766588-C161-4217-9A3D-720C5ACA682C}" dt="2024-12-01T19:19:30.365" v="1451"/>
          <ac:grpSpMkLst>
            <pc:docMk/>
            <pc:sldMk cId="1548672113" sldId="262"/>
            <ac:grpSpMk id="329" creationId="{B9AC21AF-7F6C-BDAB-4F55-93818B20A4BB}"/>
          </ac:grpSpMkLst>
        </pc:grpChg>
        <pc:grpChg chg="mod ord">
          <ac:chgData name="PJ Grant" userId="21cab94c-7745-4db5-aa88-56cdc0183ba7" providerId="ADAL" clId="{BA766588-C161-4217-9A3D-720C5ACA682C}" dt="2024-12-01T19:19:30.365" v="1453"/>
          <ac:grpSpMkLst>
            <pc:docMk/>
            <pc:sldMk cId="1548672113" sldId="262"/>
            <ac:grpSpMk id="332" creationId="{63211C17-9193-6612-19BA-E0686892A67A}"/>
          </ac:grpSpMkLst>
        </pc:grpChg>
        <pc:grpChg chg="mod ord">
          <ac:chgData name="PJ Grant" userId="21cab94c-7745-4db5-aa88-56cdc0183ba7" providerId="ADAL" clId="{BA766588-C161-4217-9A3D-720C5ACA682C}" dt="2024-12-01T19:19:30.366" v="1455"/>
          <ac:grpSpMkLst>
            <pc:docMk/>
            <pc:sldMk cId="1548672113" sldId="262"/>
            <ac:grpSpMk id="335" creationId="{B4CEFFD6-CFA1-8AFB-9BBC-9DA251436686}"/>
          </ac:grpSpMkLst>
        </pc:grpChg>
        <pc:graphicFrameChg chg="mod">
          <ac:chgData name="PJ Grant" userId="21cab94c-7745-4db5-aa88-56cdc0183ba7" providerId="ADAL" clId="{BA766588-C161-4217-9A3D-720C5ACA682C}" dt="2024-12-01T19:19:30.368" v="1463"/>
          <ac:graphicFrameMkLst>
            <pc:docMk/>
            <pc:sldMk cId="1548672113" sldId="262"/>
            <ac:graphicFrameMk id="5" creationId="{ED8579B6-E1E7-1E40-7D14-9830658C8E91}"/>
          </ac:graphicFrameMkLst>
        </pc:graphicFrameChg>
        <pc:graphicFrameChg chg="del mod ord">
          <ac:chgData name="PJ Grant" userId="21cab94c-7745-4db5-aa88-56cdc0183ba7" providerId="ADAL" clId="{BA766588-C161-4217-9A3D-720C5ACA682C}" dt="2024-12-01T19:19:30.306" v="1370"/>
          <ac:graphicFrameMkLst>
            <pc:docMk/>
            <pc:sldMk cId="1548672113" sldId="262"/>
            <ac:graphicFrameMk id="305" creationId="{80C14AC5-F387-33EB-3175-A3D40E5BE116}"/>
          </ac:graphicFrameMkLst>
        </pc:graphicFrameChg>
        <pc:graphicFrameChg chg="del">
          <ac:chgData name="PJ Grant" userId="21cab94c-7745-4db5-aa88-56cdc0183ba7" providerId="ADAL" clId="{BA766588-C161-4217-9A3D-720C5ACA682C}" dt="2024-12-01T19:19:22.440" v="1223"/>
          <ac:graphicFrameMkLst>
            <pc:docMk/>
            <pc:sldMk cId="1548672113" sldId="262"/>
            <ac:graphicFrameMk id="306" creationId="{A0255122-6CDB-3875-765D-2AB00F8CE980}"/>
          </ac:graphicFrameMkLst>
        </pc:graphicFrameChg>
        <pc:graphicFrameChg chg="add mod ord">
          <ac:chgData name="PJ Grant" userId="21cab94c-7745-4db5-aa88-56cdc0183ba7" providerId="ADAL" clId="{BA766588-C161-4217-9A3D-720C5ACA682C}" dt="2024-12-01T19:19:30.348" v="1389"/>
          <ac:graphicFrameMkLst>
            <pc:docMk/>
            <pc:sldMk cId="1548672113" sldId="262"/>
            <ac:graphicFrameMk id="356" creationId="{D5EE1B4B-82C2-80FD-95C0-07EA6F94BD0F}"/>
          </ac:graphicFrameMkLst>
        </pc:graphicFrameChg>
        <pc:graphicFrameChg chg="add mod ord">
          <ac:chgData name="PJ Grant" userId="21cab94c-7745-4db5-aa88-56cdc0183ba7" providerId="ADAL" clId="{BA766588-C161-4217-9A3D-720C5ACA682C}" dt="2024-12-01T19:19:30.354" v="1413"/>
          <ac:graphicFrameMkLst>
            <pc:docMk/>
            <pc:sldMk cId="1548672113" sldId="262"/>
            <ac:graphicFrameMk id="358" creationId="{1737C4FC-0919-ED8F-2C14-0906B744BF59}"/>
          </ac:graphicFrameMkLst>
        </pc:graphicFrameChg>
        <pc:cxnChg chg="mod ord">
          <ac:chgData name="PJ Grant" userId="21cab94c-7745-4db5-aa88-56cdc0183ba7" providerId="ADAL" clId="{BA766588-C161-4217-9A3D-720C5ACA682C}" dt="2024-12-01T19:19:30.348" v="1385"/>
          <ac:cxnSpMkLst>
            <pc:docMk/>
            <pc:sldMk cId="1548672113" sldId="262"/>
            <ac:cxnSpMk id="11" creationId="{4465D9CA-6AF4-898A-9760-B0241DD5C1DD}"/>
          </ac:cxnSpMkLst>
        </pc:cxnChg>
        <pc:cxnChg chg="mod ord">
          <ac:chgData name="PJ Grant" userId="21cab94c-7745-4db5-aa88-56cdc0183ba7" providerId="ADAL" clId="{BA766588-C161-4217-9A3D-720C5ACA682C}" dt="2024-12-01T19:19:30.357" v="1425"/>
          <ac:cxnSpMkLst>
            <pc:docMk/>
            <pc:sldMk cId="1548672113" sldId="262"/>
            <ac:cxnSpMk id="147" creationId="{B288B7D9-2C37-F491-5D2D-F3EFC36A5055}"/>
          </ac:cxnSpMkLst>
        </pc:cxnChg>
      </pc:sldChg>
      <pc:sldChg chg="addSp delSp modSp mod">
        <pc:chgData name="PJ Grant" userId="21cab94c-7745-4db5-aa88-56cdc0183ba7" providerId="ADAL" clId="{BA766588-C161-4217-9A3D-720C5ACA682C}" dt="2024-12-01T23:52:47.890" v="10008"/>
        <pc:sldMkLst>
          <pc:docMk/>
          <pc:sldMk cId="88160055" sldId="264"/>
        </pc:sldMkLst>
        <pc:spChg chg="mod">
          <ac:chgData name="PJ Grant" userId="21cab94c-7745-4db5-aa88-56cdc0183ba7" providerId="ADAL" clId="{BA766588-C161-4217-9A3D-720C5ACA682C}" dt="2024-12-01T20:01:22.183" v="7964" actId="948"/>
          <ac:spMkLst>
            <pc:docMk/>
            <pc:sldMk cId="88160055" sldId="264"/>
            <ac:spMk id="3" creationId="{36984DD2-0781-6FDD-A9F4-592D2B578C72}"/>
          </ac:spMkLst>
        </pc:spChg>
        <pc:spChg chg="mod">
          <ac:chgData name="PJ Grant" userId="21cab94c-7745-4db5-aa88-56cdc0183ba7" providerId="ADAL" clId="{BA766588-C161-4217-9A3D-720C5ACA682C}" dt="2024-12-01T20:23:21.614" v="10006" actId="552"/>
          <ac:spMkLst>
            <pc:docMk/>
            <pc:sldMk cId="88160055" sldId="264"/>
            <ac:spMk id="13" creationId="{414C657A-0650-16FC-C24B-C5C3107BDF91}"/>
          </ac:spMkLst>
        </pc:spChg>
        <pc:spChg chg="mod topLvl">
          <ac:chgData name="PJ Grant" userId="21cab94c-7745-4db5-aa88-56cdc0183ba7" providerId="ADAL" clId="{BA766588-C161-4217-9A3D-720C5ACA682C}" dt="2024-12-01T20:23:21.614" v="10006" actId="552"/>
          <ac:spMkLst>
            <pc:docMk/>
            <pc:sldMk cId="88160055" sldId="264"/>
            <ac:spMk id="14" creationId="{630D62D0-2165-7EFC-8721-61AC5FDA892D}"/>
          </ac:spMkLst>
        </pc:spChg>
        <pc:spChg chg="mod topLvl">
          <ac:chgData name="PJ Grant" userId="21cab94c-7745-4db5-aa88-56cdc0183ba7" providerId="ADAL" clId="{BA766588-C161-4217-9A3D-720C5ACA682C}" dt="2024-12-01T20:23:01.606" v="9999" actId="165"/>
          <ac:spMkLst>
            <pc:docMk/>
            <pc:sldMk cId="88160055" sldId="264"/>
            <ac:spMk id="15" creationId="{5972294B-5C60-DC8B-450D-A9AE0084C7E1}"/>
          </ac:spMkLst>
        </pc:spChg>
        <pc:spChg chg="del mod">
          <ac:chgData name="PJ Grant" userId="21cab94c-7745-4db5-aa88-56cdc0183ba7" providerId="ADAL" clId="{BA766588-C161-4217-9A3D-720C5ACA682C}" dt="2024-12-01T20:19:35.821" v="9804" actId="478"/>
          <ac:spMkLst>
            <pc:docMk/>
            <pc:sldMk cId="88160055" sldId="264"/>
            <ac:spMk id="17" creationId="{D96983F3-A47F-B7D5-8F46-02327D6587BD}"/>
          </ac:spMkLst>
        </pc:spChg>
        <pc:spChg chg="del mod">
          <ac:chgData name="PJ Grant" userId="21cab94c-7745-4db5-aa88-56cdc0183ba7" providerId="ADAL" clId="{BA766588-C161-4217-9A3D-720C5ACA682C}" dt="2024-12-01T20:20:23.321" v="9899" actId="478"/>
          <ac:spMkLst>
            <pc:docMk/>
            <pc:sldMk cId="88160055" sldId="264"/>
            <ac:spMk id="20" creationId="{EB11471B-590E-D050-2B76-D86A0634E6CA}"/>
          </ac:spMkLst>
        </pc:spChg>
        <pc:spChg chg="del mod">
          <ac:chgData name="PJ Grant" userId="21cab94c-7745-4db5-aa88-56cdc0183ba7" providerId="ADAL" clId="{BA766588-C161-4217-9A3D-720C5ACA682C}" dt="2024-12-01T20:18:51.831" v="9695" actId="478"/>
          <ac:spMkLst>
            <pc:docMk/>
            <pc:sldMk cId="88160055" sldId="264"/>
            <ac:spMk id="22" creationId="{6DD971E7-6150-B766-F228-C358B44DEEF2}"/>
          </ac:spMkLst>
        </pc:spChg>
        <pc:spChg chg="del mod">
          <ac:chgData name="PJ Grant" userId="21cab94c-7745-4db5-aa88-56cdc0183ba7" providerId="ADAL" clId="{BA766588-C161-4217-9A3D-720C5ACA682C}" dt="2024-12-01T20:20:07.862" v="9896" actId="478"/>
          <ac:spMkLst>
            <pc:docMk/>
            <pc:sldMk cId="88160055" sldId="264"/>
            <ac:spMk id="23" creationId="{DDCB9A9B-E990-6AB8-D987-49F3A157F9C3}"/>
          </ac:spMkLst>
        </pc:spChg>
        <pc:spChg chg="del">
          <ac:chgData name="PJ Grant" userId="21cab94c-7745-4db5-aa88-56cdc0183ba7" providerId="ADAL" clId="{BA766588-C161-4217-9A3D-720C5ACA682C}" dt="2024-12-01T20:02:01.450" v="8053" actId="478"/>
          <ac:spMkLst>
            <pc:docMk/>
            <pc:sldMk cId="88160055" sldId="264"/>
            <ac:spMk id="24" creationId="{5284B6DE-0B16-D287-9E8A-1417436B50B8}"/>
          </ac:spMkLst>
        </pc:spChg>
        <pc:spChg chg="add del mod modVis">
          <ac:chgData name="PJ Grant" userId="21cab94c-7745-4db5-aa88-56cdc0183ba7" providerId="ADAL" clId="{BA766588-C161-4217-9A3D-720C5ACA682C}" dt="2024-12-01T20:01:16.840" v="7878"/>
          <ac:spMkLst>
            <pc:docMk/>
            <pc:sldMk cId="88160055" sldId="264"/>
            <ac:spMk id="26" creationId="{515CCED4-0DA3-C5D1-33F4-10C1FA1A70DE}"/>
          </ac:spMkLst>
        </pc:spChg>
        <pc:spChg chg="add del mod modVis">
          <ac:chgData name="PJ Grant" userId="21cab94c-7745-4db5-aa88-56cdc0183ba7" providerId="ADAL" clId="{BA766588-C161-4217-9A3D-720C5ACA682C}" dt="2024-12-01T20:01:17.705" v="7908"/>
          <ac:spMkLst>
            <pc:docMk/>
            <pc:sldMk cId="88160055" sldId="264"/>
            <ac:spMk id="27" creationId="{0C1B4CCA-9F88-BB18-E538-301D6DAF046A}"/>
          </ac:spMkLst>
        </pc:spChg>
        <pc:spChg chg="add del mod modVis">
          <ac:chgData name="PJ Grant" userId="21cab94c-7745-4db5-aa88-56cdc0183ba7" providerId="ADAL" clId="{BA766588-C161-4217-9A3D-720C5ACA682C}" dt="2024-12-01T20:01:21.392" v="7960"/>
          <ac:spMkLst>
            <pc:docMk/>
            <pc:sldMk cId="88160055" sldId="264"/>
            <ac:spMk id="28" creationId="{D76FB199-1069-F0E2-A5C0-8C9CBBAF8011}"/>
          </ac:spMkLst>
        </pc:spChg>
        <pc:spChg chg="add del mod modVis">
          <ac:chgData name="PJ Grant" userId="21cab94c-7745-4db5-aa88-56cdc0183ba7" providerId="ADAL" clId="{BA766588-C161-4217-9A3D-720C5ACA682C}" dt="2024-12-01T20:01:22.199" v="7986"/>
          <ac:spMkLst>
            <pc:docMk/>
            <pc:sldMk cId="88160055" sldId="264"/>
            <ac:spMk id="29" creationId="{C1B74C89-F3CF-621F-397D-C1DD0AC3F166}"/>
          </ac:spMkLst>
        </pc:spChg>
        <pc:spChg chg="add mod">
          <ac:chgData name="PJ Grant" userId="21cab94c-7745-4db5-aa88-56cdc0183ba7" providerId="ADAL" clId="{BA766588-C161-4217-9A3D-720C5ACA682C}" dt="2024-12-01T20:23:16.015" v="10004" actId="552"/>
          <ac:spMkLst>
            <pc:docMk/>
            <pc:sldMk cId="88160055" sldId="264"/>
            <ac:spMk id="30" creationId="{E27269F9-E8D2-E960-580C-7BF7C8ADBE9C}"/>
          </ac:spMkLst>
        </pc:spChg>
        <pc:spChg chg="add del mod">
          <ac:chgData name="PJ Grant" userId="21cab94c-7745-4db5-aa88-56cdc0183ba7" providerId="ADAL" clId="{BA766588-C161-4217-9A3D-720C5ACA682C}" dt="2024-12-01T20:20:09.947" v="9897" actId="478"/>
          <ac:spMkLst>
            <pc:docMk/>
            <pc:sldMk cId="88160055" sldId="264"/>
            <ac:spMk id="31" creationId="{A9085BBA-0755-56CF-5495-2A86E021598E}"/>
          </ac:spMkLst>
        </pc:spChg>
        <pc:spChg chg="add mod topLvl">
          <ac:chgData name="PJ Grant" userId="21cab94c-7745-4db5-aa88-56cdc0183ba7" providerId="ADAL" clId="{BA766588-C161-4217-9A3D-720C5ACA682C}" dt="2024-12-01T20:23:16.015" v="10004" actId="552"/>
          <ac:spMkLst>
            <pc:docMk/>
            <pc:sldMk cId="88160055" sldId="264"/>
            <ac:spMk id="32" creationId="{89A610D0-70B8-50C2-8FB1-13F6CDB73DDD}"/>
          </ac:spMkLst>
        </pc:spChg>
        <pc:spChg chg="add mod">
          <ac:chgData name="PJ Grant" userId="21cab94c-7745-4db5-aa88-56cdc0183ba7" providerId="ADAL" clId="{BA766588-C161-4217-9A3D-720C5ACA682C}" dt="2024-12-01T20:23:11.344" v="10002" actId="552"/>
          <ac:spMkLst>
            <pc:docMk/>
            <pc:sldMk cId="88160055" sldId="264"/>
            <ac:spMk id="33" creationId="{7DDDDFE8-1A06-7A4D-15F5-DC5CA105863A}"/>
          </ac:spMkLst>
        </pc:spChg>
        <pc:spChg chg="add mod">
          <ac:chgData name="PJ Grant" userId="21cab94c-7745-4db5-aa88-56cdc0183ba7" providerId="ADAL" clId="{BA766588-C161-4217-9A3D-720C5ACA682C}" dt="2024-12-01T20:23:06.819" v="10001" actId="552"/>
          <ac:spMkLst>
            <pc:docMk/>
            <pc:sldMk cId="88160055" sldId="264"/>
            <ac:spMk id="34" creationId="{19DFCEB2-73CF-16B2-08F6-A408A0F6B8E8}"/>
          </ac:spMkLst>
        </pc:spChg>
        <pc:spChg chg="add mod topLvl">
          <ac:chgData name="PJ Grant" userId="21cab94c-7745-4db5-aa88-56cdc0183ba7" providerId="ADAL" clId="{BA766588-C161-4217-9A3D-720C5ACA682C}" dt="2024-12-01T20:23:11.344" v="10002" actId="552"/>
          <ac:spMkLst>
            <pc:docMk/>
            <pc:sldMk cId="88160055" sldId="264"/>
            <ac:spMk id="35" creationId="{4E3FFC33-3D97-D7A4-C862-850552526F6C}"/>
          </ac:spMkLst>
        </pc:spChg>
        <pc:spChg chg="add mod topLvl">
          <ac:chgData name="PJ Grant" userId="21cab94c-7745-4db5-aa88-56cdc0183ba7" providerId="ADAL" clId="{BA766588-C161-4217-9A3D-720C5ACA682C}" dt="2024-12-01T20:23:06.819" v="10001" actId="552"/>
          <ac:spMkLst>
            <pc:docMk/>
            <pc:sldMk cId="88160055" sldId="264"/>
            <ac:spMk id="36" creationId="{462ADD80-E5F9-FC90-91AD-19D9E86341F7}"/>
          </ac:spMkLst>
        </pc:spChg>
        <pc:spChg chg="add mod topLvl">
          <ac:chgData name="PJ Grant" userId="21cab94c-7745-4db5-aa88-56cdc0183ba7" providerId="ADAL" clId="{BA766588-C161-4217-9A3D-720C5ACA682C}" dt="2024-12-01T20:23:01.606" v="9999" actId="165"/>
          <ac:spMkLst>
            <pc:docMk/>
            <pc:sldMk cId="88160055" sldId="264"/>
            <ac:spMk id="38" creationId="{A8BAD722-B782-C33A-4648-37124AD28BB7}"/>
          </ac:spMkLst>
        </pc:spChg>
        <pc:spChg chg="add mod topLvl">
          <ac:chgData name="PJ Grant" userId="21cab94c-7745-4db5-aa88-56cdc0183ba7" providerId="ADAL" clId="{BA766588-C161-4217-9A3D-720C5ACA682C}" dt="2024-12-01T23:52:47.890" v="10008"/>
          <ac:spMkLst>
            <pc:docMk/>
            <pc:sldMk cId="88160055" sldId="264"/>
            <ac:spMk id="39" creationId="{5FD564F2-A86C-86C1-AF54-06816BF33881}"/>
          </ac:spMkLst>
        </pc:spChg>
        <pc:spChg chg="add mod topLvl">
          <ac:chgData name="PJ Grant" userId="21cab94c-7745-4db5-aa88-56cdc0183ba7" providerId="ADAL" clId="{BA766588-C161-4217-9A3D-720C5ACA682C}" dt="2024-12-01T20:23:01.606" v="9999" actId="165"/>
          <ac:spMkLst>
            <pc:docMk/>
            <pc:sldMk cId="88160055" sldId="264"/>
            <ac:spMk id="40" creationId="{C33FD4E8-A507-12F0-EB37-C292F53ADBA5}"/>
          </ac:spMkLst>
        </pc:spChg>
        <pc:spChg chg="add mod">
          <ac:chgData name="PJ Grant" userId="21cab94c-7745-4db5-aa88-56cdc0183ba7" providerId="ADAL" clId="{BA766588-C161-4217-9A3D-720C5ACA682C}" dt="2024-12-01T20:21:07.446" v="9972" actId="1076"/>
          <ac:spMkLst>
            <pc:docMk/>
            <pc:sldMk cId="88160055" sldId="264"/>
            <ac:spMk id="41" creationId="{5BA4FBB8-830D-2D16-2A58-DC27B47D4E37}"/>
          </ac:spMkLst>
        </pc:spChg>
        <pc:spChg chg="add mod">
          <ac:chgData name="PJ Grant" userId="21cab94c-7745-4db5-aa88-56cdc0183ba7" providerId="ADAL" clId="{BA766588-C161-4217-9A3D-720C5ACA682C}" dt="2024-12-01T20:21:07.446" v="9972" actId="1076"/>
          <ac:spMkLst>
            <pc:docMk/>
            <pc:sldMk cId="88160055" sldId="264"/>
            <ac:spMk id="43" creationId="{FF042968-D01F-E12E-4768-32871C27825D}"/>
          </ac:spMkLst>
        </pc:spChg>
        <pc:spChg chg="add mod">
          <ac:chgData name="PJ Grant" userId="21cab94c-7745-4db5-aa88-56cdc0183ba7" providerId="ADAL" clId="{BA766588-C161-4217-9A3D-720C5ACA682C}" dt="2024-12-01T20:21:07.446" v="9972" actId="1076"/>
          <ac:spMkLst>
            <pc:docMk/>
            <pc:sldMk cId="88160055" sldId="264"/>
            <ac:spMk id="44" creationId="{A73A6E2C-BC10-C2D2-B763-CE13DF334D69}"/>
          </ac:spMkLst>
        </pc:spChg>
        <pc:spChg chg="add mod">
          <ac:chgData name="PJ Grant" userId="21cab94c-7745-4db5-aa88-56cdc0183ba7" providerId="ADAL" clId="{BA766588-C161-4217-9A3D-720C5ACA682C}" dt="2024-12-01T20:21:07.446" v="9972" actId="1076"/>
          <ac:spMkLst>
            <pc:docMk/>
            <pc:sldMk cId="88160055" sldId="264"/>
            <ac:spMk id="45" creationId="{5E772E86-5035-2F01-D8BA-EE4E13EF0657}"/>
          </ac:spMkLst>
        </pc:spChg>
        <pc:spChg chg="add mod">
          <ac:chgData name="PJ Grant" userId="21cab94c-7745-4db5-aa88-56cdc0183ba7" providerId="ADAL" clId="{BA766588-C161-4217-9A3D-720C5ACA682C}" dt="2024-12-01T20:21:00.643" v="9971" actId="113"/>
          <ac:spMkLst>
            <pc:docMk/>
            <pc:sldMk cId="88160055" sldId="264"/>
            <ac:spMk id="46" creationId="{5FA76AFB-3A71-0C09-2992-ACC2A36015A4}"/>
          </ac:spMkLst>
        </pc:spChg>
        <pc:grpChg chg="add del mod">
          <ac:chgData name="PJ Grant" userId="21cab94c-7745-4db5-aa88-56cdc0183ba7" providerId="ADAL" clId="{BA766588-C161-4217-9A3D-720C5ACA682C}" dt="2024-12-01T20:22:00.761" v="9982" actId="165"/>
          <ac:grpSpMkLst>
            <pc:docMk/>
            <pc:sldMk cId="88160055" sldId="264"/>
            <ac:grpSpMk id="47" creationId="{C8E9FB0D-4013-B8E2-4AFD-8A5C96E8B538}"/>
          </ac:grpSpMkLst>
        </pc:grpChg>
        <pc:grpChg chg="add del mod">
          <ac:chgData name="PJ Grant" userId="21cab94c-7745-4db5-aa88-56cdc0183ba7" providerId="ADAL" clId="{BA766588-C161-4217-9A3D-720C5ACA682C}" dt="2024-12-01T20:22:00.761" v="9982" actId="165"/>
          <ac:grpSpMkLst>
            <pc:docMk/>
            <pc:sldMk cId="88160055" sldId="264"/>
            <ac:grpSpMk id="48" creationId="{5F86CA99-E5FA-3849-3C24-8026C91E411E}"/>
          </ac:grpSpMkLst>
        </pc:grpChg>
        <pc:grpChg chg="add del mod">
          <ac:chgData name="PJ Grant" userId="21cab94c-7745-4db5-aa88-56cdc0183ba7" providerId="ADAL" clId="{BA766588-C161-4217-9A3D-720C5ACA682C}" dt="2024-12-01T20:22:00.761" v="9982" actId="165"/>
          <ac:grpSpMkLst>
            <pc:docMk/>
            <pc:sldMk cId="88160055" sldId="264"/>
            <ac:grpSpMk id="49" creationId="{BF9E6892-71B7-6222-3A9C-6EC91B843B70}"/>
          </ac:grpSpMkLst>
        </pc:grpChg>
        <pc:grpChg chg="add del mod">
          <ac:chgData name="PJ Grant" userId="21cab94c-7745-4db5-aa88-56cdc0183ba7" providerId="ADAL" clId="{BA766588-C161-4217-9A3D-720C5ACA682C}" dt="2024-12-01T20:22:00.761" v="9982" actId="165"/>
          <ac:grpSpMkLst>
            <pc:docMk/>
            <pc:sldMk cId="88160055" sldId="264"/>
            <ac:grpSpMk id="50" creationId="{65B9628D-B176-E282-1350-8F447D020673}"/>
          </ac:grpSpMkLst>
        </pc:grpChg>
        <pc:grpChg chg="add del mod">
          <ac:chgData name="PJ Grant" userId="21cab94c-7745-4db5-aa88-56cdc0183ba7" providerId="ADAL" clId="{BA766588-C161-4217-9A3D-720C5ACA682C}" dt="2024-12-01T20:23:01.606" v="9999" actId="165"/>
          <ac:grpSpMkLst>
            <pc:docMk/>
            <pc:sldMk cId="88160055" sldId="264"/>
            <ac:grpSpMk id="51" creationId="{38625515-E8F8-5239-FC89-221DFC83944A}"/>
          </ac:grpSpMkLst>
        </pc:grpChg>
        <pc:grpChg chg="add del mod">
          <ac:chgData name="PJ Grant" userId="21cab94c-7745-4db5-aa88-56cdc0183ba7" providerId="ADAL" clId="{BA766588-C161-4217-9A3D-720C5ACA682C}" dt="2024-12-01T20:23:01.606" v="9999" actId="165"/>
          <ac:grpSpMkLst>
            <pc:docMk/>
            <pc:sldMk cId="88160055" sldId="264"/>
            <ac:grpSpMk id="52" creationId="{C1BDC640-7B8F-1191-C411-45F3901641A8}"/>
          </ac:grpSpMkLst>
        </pc:grpChg>
        <pc:grpChg chg="add del mod">
          <ac:chgData name="PJ Grant" userId="21cab94c-7745-4db5-aa88-56cdc0183ba7" providerId="ADAL" clId="{BA766588-C161-4217-9A3D-720C5ACA682C}" dt="2024-12-01T20:23:01.606" v="9999" actId="165"/>
          <ac:grpSpMkLst>
            <pc:docMk/>
            <pc:sldMk cId="88160055" sldId="264"/>
            <ac:grpSpMk id="53" creationId="{574206D4-DED6-5448-A0E0-4B79DB1F660C}"/>
          </ac:grpSpMkLst>
        </pc:grpChg>
        <pc:grpChg chg="add del mod">
          <ac:chgData name="PJ Grant" userId="21cab94c-7745-4db5-aa88-56cdc0183ba7" providerId="ADAL" clId="{BA766588-C161-4217-9A3D-720C5ACA682C}" dt="2024-12-01T20:23:01.606" v="9999" actId="165"/>
          <ac:grpSpMkLst>
            <pc:docMk/>
            <pc:sldMk cId="88160055" sldId="264"/>
            <ac:grpSpMk id="54" creationId="{173CEB5D-BA29-EEF3-24E2-514C09F18F67}"/>
          </ac:grpSpMkLst>
        </pc:grpChg>
        <pc:graphicFrameChg chg="mod">
          <ac:chgData name="PJ Grant" userId="21cab94c-7745-4db5-aa88-56cdc0183ba7" providerId="ADAL" clId="{BA766588-C161-4217-9A3D-720C5ACA682C}" dt="2024-12-01T20:01:22.201" v="7988"/>
          <ac:graphicFrameMkLst>
            <pc:docMk/>
            <pc:sldMk cId="88160055" sldId="264"/>
            <ac:graphicFrameMk id="5" creationId="{B460D102-AA55-C315-929C-F1E787D16892}"/>
          </ac:graphicFrameMkLst>
        </pc:graphicFrameChg>
        <pc:cxnChg chg="mod">
          <ac:chgData name="PJ Grant" userId="21cab94c-7745-4db5-aa88-56cdc0183ba7" providerId="ADAL" clId="{BA766588-C161-4217-9A3D-720C5ACA682C}" dt="2024-12-01T20:10:04.685" v="8895" actId="1076"/>
          <ac:cxnSpMkLst>
            <pc:docMk/>
            <pc:sldMk cId="88160055" sldId="264"/>
            <ac:cxnSpMk id="12" creationId="{ED4F7FE9-BE1D-7CC5-5719-720E7E85DB7A}"/>
          </ac:cxnSpMkLst>
        </pc:cxnChg>
        <pc:cxnChg chg="add mod">
          <ac:chgData name="PJ Grant" userId="21cab94c-7745-4db5-aa88-56cdc0183ba7" providerId="ADAL" clId="{BA766588-C161-4217-9A3D-720C5ACA682C}" dt="2024-12-01T20:16:24.811" v="9474" actId="465"/>
          <ac:cxnSpMkLst>
            <pc:docMk/>
            <pc:sldMk cId="88160055" sldId="264"/>
            <ac:cxnSpMk id="37" creationId="{7EF8821E-C624-80DC-0FB2-73C64F4E5795}"/>
          </ac:cxnSpMkLst>
        </pc:cxnChg>
        <pc:cxnChg chg="add mod">
          <ac:chgData name="PJ Grant" userId="21cab94c-7745-4db5-aa88-56cdc0183ba7" providerId="ADAL" clId="{BA766588-C161-4217-9A3D-720C5ACA682C}" dt="2024-12-01T20:21:07.446" v="9972" actId="1076"/>
          <ac:cxnSpMkLst>
            <pc:docMk/>
            <pc:sldMk cId="88160055" sldId="264"/>
            <ac:cxnSpMk id="42" creationId="{1AC6DFAE-8FA4-F108-6A87-7E717A6BAEB8}"/>
          </ac:cxnSpMkLst>
        </pc:cxnChg>
      </pc:sldChg>
      <pc:sldChg chg="addSp delSp modSp mod">
        <pc:chgData name="PJ Grant" userId="21cab94c-7745-4db5-aa88-56cdc0183ba7" providerId="ADAL" clId="{BA766588-C161-4217-9A3D-720C5ACA682C}" dt="2024-12-01T19:39:49.079" v="2960" actId="1076"/>
        <pc:sldMkLst>
          <pc:docMk/>
          <pc:sldMk cId="1670414324" sldId="265"/>
        </pc:sldMkLst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" creationId="{10DDC413-E254-02EE-525D-EC7AB0AEB49E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3" creationId="{972E4D7E-28B6-44C2-B738-3BC0F92BE925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4" creationId="{11E78725-9243-CD9F-E558-E08F50E468B8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6" creationId="{1363383E-1595-1C38-029F-0899D1A63C91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9" creationId="{415DC22D-B70E-0FE6-10D3-47F75D6FCED1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10" creationId="{7777717E-AA49-652E-F31B-D42CC476288D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12" creationId="{0B3BB85F-304D-048F-FEFE-E20E30114A56}"/>
          </ac:spMkLst>
        </pc:spChg>
        <pc:spChg chg="mod">
          <ac:chgData name="PJ Grant" userId="21cab94c-7745-4db5-aa88-56cdc0183ba7" providerId="ADAL" clId="{BA766588-C161-4217-9A3D-720C5ACA682C}" dt="2024-12-01T19:39:11.404" v="2876"/>
          <ac:spMkLst>
            <pc:docMk/>
            <pc:sldMk cId="1670414324" sldId="265"/>
            <ac:spMk id="15" creationId="{E61993C4-37D3-EF29-19C8-294E863B0EC9}"/>
          </ac:spMkLst>
        </pc:spChg>
        <pc:spChg chg="mod">
          <ac:chgData name="PJ Grant" userId="21cab94c-7745-4db5-aa88-56cdc0183ba7" providerId="ADAL" clId="{BA766588-C161-4217-9A3D-720C5ACA682C}" dt="2024-12-01T19:39:11.405" v="2877"/>
          <ac:spMkLst>
            <pc:docMk/>
            <pc:sldMk cId="1670414324" sldId="265"/>
            <ac:spMk id="18" creationId="{14BFBD43-C408-993B-19E6-CDD90DC67D46}"/>
          </ac:spMkLst>
        </pc:spChg>
        <pc:spChg chg="mod">
          <ac:chgData name="PJ Grant" userId="21cab94c-7745-4db5-aa88-56cdc0183ba7" providerId="ADAL" clId="{BA766588-C161-4217-9A3D-720C5ACA682C}" dt="2024-12-01T19:39:11.403" v="2874"/>
          <ac:spMkLst>
            <pc:docMk/>
            <pc:sldMk cId="1670414324" sldId="265"/>
            <ac:spMk id="26" creationId="{E2A23C7D-0CDB-FA58-13AE-28DE04A27108}"/>
          </ac:spMkLst>
        </pc:spChg>
        <pc:spChg chg="mod">
          <ac:chgData name="PJ Grant" userId="21cab94c-7745-4db5-aa88-56cdc0183ba7" providerId="ADAL" clId="{BA766588-C161-4217-9A3D-720C5ACA682C}" dt="2024-12-01T19:39:11.404" v="2875"/>
          <ac:spMkLst>
            <pc:docMk/>
            <pc:sldMk cId="1670414324" sldId="265"/>
            <ac:spMk id="111" creationId="{74BC18E6-D651-E7D3-B3AF-8CAE29F825E2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148" creationId="{90F351F7-0C3E-D777-3A23-61B0A5979DCA}"/>
          </ac:spMkLst>
        </pc:spChg>
        <pc:spChg chg="mod">
          <ac:chgData name="PJ Grant" userId="21cab94c-7745-4db5-aa88-56cdc0183ba7" providerId="ADAL" clId="{BA766588-C161-4217-9A3D-720C5ACA682C}" dt="2024-12-01T19:39:11.409" v="2895"/>
          <ac:spMkLst>
            <pc:docMk/>
            <pc:sldMk cId="1670414324" sldId="265"/>
            <ac:spMk id="149" creationId="{60BC995C-74C2-2CE9-EFD5-3BB17D745C14}"/>
          </ac:spMkLst>
        </pc:spChg>
        <pc:spChg chg="mod">
          <ac:chgData name="PJ Grant" userId="21cab94c-7745-4db5-aa88-56cdc0183ba7" providerId="ADAL" clId="{BA766588-C161-4217-9A3D-720C5ACA682C}" dt="2024-12-01T19:39:11.409" v="2896"/>
          <ac:spMkLst>
            <pc:docMk/>
            <pc:sldMk cId="1670414324" sldId="265"/>
            <ac:spMk id="152" creationId="{B8955D64-985D-1178-722E-9B8DDDA65258}"/>
          </ac:spMkLst>
        </pc:spChg>
        <pc:spChg chg="mod ord">
          <ac:chgData name="PJ Grant" userId="21cab94c-7745-4db5-aa88-56cdc0183ba7" providerId="ADAL" clId="{BA766588-C161-4217-9A3D-720C5ACA682C}" dt="2024-12-01T19:39:42.482" v="2959" actId="948"/>
          <ac:spMkLst>
            <pc:docMk/>
            <pc:sldMk cId="1670414324" sldId="265"/>
            <ac:spMk id="154" creationId="{9AA43FF9-3D26-A33A-ABF9-A3C53603871A}"/>
          </ac:spMkLst>
        </pc:spChg>
        <pc:spChg chg="mod">
          <ac:chgData name="PJ Grant" userId="21cab94c-7745-4db5-aa88-56cdc0183ba7" providerId="ADAL" clId="{BA766588-C161-4217-9A3D-720C5ACA682C}" dt="2024-12-01T19:39:11.405" v="2878"/>
          <ac:spMkLst>
            <pc:docMk/>
            <pc:sldMk cId="1670414324" sldId="265"/>
            <ac:spMk id="159" creationId="{85DC4E3E-648D-545C-D43E-41B041DD7BF8}"/>
          </ac:spMkLst>
        </pc:spChg>
        <pc:spChg chg="mod">
          <ac:chgData name="PJ Grant" userId="21cab94c-7745-4db5-aa88-56cdc0183ba7" providerId="ADAL" clId="{BA766588-C161-4217-9A3D-720C5ACA682C}" dt="2024-12-01T19:39:11.408" v="2892"/>
          <ac:spMkLst>
            <pc:docMk/>
            <pc:sldMk cId="1670414324" sldId="265"/>
            <ac:spMk id="164" creationId="{09AC38CE-4A4D-33DB-545B-2B752C1174E2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165" creationId="{1B66A17B-F6DB-8CAF-A849-95D3B7A585AD}"/>
          </ac:spMkLst>
        </pc:spChg>
        <pc:spChg chg="mod">
          <ac:chgData name="PJ Grant" userId="21cab94c-7745-4db5-aa88-56cdc0183ba7" providerId="ADAL" clId="{BA766588-C161-4217-9A3D-720C5ACA682C}" dt="2024-12-01T19:39:11.405" v="2879"/>
          <ac:spMkLst>
            <pc:docMk/>
            <pc:sldMk cId="1670414324" sldId="265"/>
            <ac:spMk id="166" creationId="{8C12863B-19F6-55C1-72AA-6CDD74424C69}"/>
          </ac:spMkLst>
        </pc:spChg>
        <pc:spChg chg="mod">
          <ac:chgData name="PJ Grant" userId="21cab94c-7745-4db5-aa88-56cdc0183ba7" providerId="ADAL" clId="{BA766588-C161-4217-9A3D-720C5ACA682C}" dt="2024-12-01T19:39:11.405" v="2880"/>
          <ac:spMkLst>
            <pc:docMk/>
            <pc:sldMk cId="1670414324" sldId="265"/>
            <ac:spMk id="189" creationId="{8F9ACB5D-4BAE-ABB0-0D06-B04D1B58832B}"/>
          </ac:spMkLst>
        </pc:spChg>
        <pc:spChg chg="mod">
          <ac:chgData name="PJ Grant" userId="21cab94c-7745-4db5-aa88-56cdc0183ba7" providerId="ADAL" clId="{BA766588-C161-4217-9A3D-720C5ACA682C}" dt="2024-12-01T19:39:11.405" v="2881"/>
          <ac:spMkLst>
            <pc:docMk/>
            <pc:sldMk cId="1670414324" sldId="265"/>
            <ac:spMk id="192" creationId="{12E4AE2E-5CED-8A9F-C4D9-2009430C7D0A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15" creationId="{44AAD855-64D2-BBC4-E380-09468DF114A3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16" creationId="{329602AE-BA31-0589-0B13-EB2E749005DF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17" creationId="{839A040B-6C81-3033-BA2C-5D3F7B4CD57E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18" creationId="{4EB9E3EB-934C-9363-6E5C-CA3E1066024F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45" creationId="{29994ECA-9989-92CC-6738-9966D9B73673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58" creationId="{1FA38AB0-D6DC-6E78-2DF9-416A8B65EB66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64" creationId="{2D0D9DEB-4D12-3312-68CC-41A2EBEB8A4A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67" creationId="{8416E7CC-346C-5CAB-6257-58CBB78B50A6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71" creationId="{E9C2A287-4DFA-238C-BC83-6C7205D07F7C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75" creationId="{AA6273B2-B43A-1E19-0CF8-F53249348294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78" creationId="{7DF745A9-BA37-700C-051E-04AFB939AB2F}"/>
          </ac:spMkLst>
        </pc:spChg>
        <pc:spChg chg="mo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281" creationId="{A3DEB2EF-8E00-CEB5-69F7-C03224F6F0E7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305" creationId="{6BD9EE72-EDA0-7D79-5CA5-F84C47AC60B8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306" creationId="{51624273-C614-E637-4E17-BE26B4A0F2B8}"/>
          </ac:spMkLst>
        </pc:spChg>
        <pc:spChg chg="mod ord">
          <ac:chgData name="PJ Grant" userId="21cab94c-7745-4db5-aa88-56cdc0183ba7" providerId="ADAL" clId="{BA766588-C161-4217-9A3D-720C5ACA682C}" dt="2024-12-01T19:39:11.763" v="2950"/>
          <ac:spMkLst>
            <pc:docMk/>
            <pc:sldMk cId="1670414324" sldId="265"/>
            <ac:spMk id="318" creationId="{BBAF7ABA-6F13-9B6B-F3EA-71D809B575BC}"/>
          </ac:spMkLst>
        </pc:spChg>
        <pc:spChg chg="add del mod modVis">
          <ac:chgData name="PJ Grant" userId="21cab94c-7745-4db5-aa88-56cdc0183ba7" providerId="ADAL" clId="{BA766588-C161-4217-9A3D-720C5ACA682C}" dt="2024-12-01T19:28:27.817" v="1872"/>
          <ac:spMkLst>
            <pc:docMk/>
            <pc:sldMk cId="1670414324" sldId="265"/>
            <ac:spMk id="344" creationId="{4ACB7224-6A14-8BA9-0115-7AF4FA2C9BC5}"/>
          </ac:spMkLst>
        </pc:spChg>
        <pc:spChg chg="add del">
          <ac:chgData name="PJ Grant" userId="21cab94c-7745-4db5-aa88-56cdc0183ba7" providerId="ADAL" clId="{BA766588-C161-4217-9A3D-720C5ACA682C}" dt="2024-12-01T19:37:00.296" v="2752" actId="478"/>
          <ac:spMkLst>
            <pc:docMk/>
            <pc:sldMk cId="1670414324" sldId="265"/>
            <ac:spMk id="347" creationId="{BADE5FFE-3C08-DE5D-F3F8-F1D1108DD2AC}"/>
          </ac:spMkLst>
        </pc:spChg>
        <pc:spChg chg="add mod topLvl">
          <ac:chgData name="PJ Grant" userId="21cab94c-7745-4db5-aa88-56cdc0183ba7" providerId="ADAL" clId="{BA766588-C161-4217-9A3D-720C5ACA682C}" dt="2024-12-01T19:38:56.393" v="2784" actId="164"/>
          <ac:spMkLst>
            <pc:docMk/>
            <pc:sldMk cId="1670414324" sldId="265"/>
            <ac:spMk id="348" creationId="{0879D8FD-E514-5F01-00E6-8C4A22C89C95}"/>
          </ac:spMkLst>
        </pc:spChg>
        <pc:spChg chg="add mod topLvl">
          <ac:chgData name="PJ Grant" userId="21cab94c-7745-4db5-aa88-56cdc0183ba7" providerId="ADAL" clId="{BA766588-C161-4217-9A3D-720C5ACA682C}" dt="2024-12-01T19:38:56.393" v="2784" actId="164"/>
          <ac:spMkLst>
            <pc:docMk/>
            <pc:sldMk cId="1670414324" sldId="265"/>
            <ac:spMk id="349" creationId="{18D87126-1160-73C9-E23A-21DFDB52AE62}"/>
          </ac:spMkLst>
        </pc:spChg>
        <pc:spChg chg="mod">
          <ac:chgData name="PJ Grant" userId="21cab94c-7745-4db5-aa88-56cdc0183ba7" providerId="ADAL" clId="{BA766588-C161-4217-9A3D-720C5ACA682C}" dt="2024-12-01T19:39:08.212" v="2787" actId="571"/>
          <ac:spMkLst>
            <pc:docMk/>
            <pc:sldMk cId="1670414324" sldId="265"/>
            <ac:spMk id="353" creationId="{2B5966C3-C391-3574-28EA-47FEC8368C97}"/>
          </ac:spMkLst>
        </pc:spChg>
        <pc:spChg chg="mod">
          <ac:chgData name="PJ Grant" userId="21cab94c-7745-4db5-aa88-56cdc0183ba7" providerId="ADAL" clId="{BA766588-C161-4217-9A3D-720C5ACA682C}" dt="2024-12-01T19:39:16.790" v="2954" actId="20577"/>
          <ac:spMkLst>
            <pc:docMk/>
            <pc:sldMk cId="1670414324" sldId="265"/>
            <ac:spMk id="354" creationId="{50FD2897-7BA4-6571-A841-47C8411829A0}"/>
          </ac:spMkLst>
        </pc:spChg>
        <pc:spChg chg="mod">
          <ac:chgData name="PJ Grant" userId="21cab94c-7745-4db5-aa88-56cdc0183ba7" providerId="ADAL" clId="{BA766588-C161-4217-9A3D-720C5ACA682C}" dt="2024-12-01T19:39:22.184" v="2955" actId="571"/>
          <ac:spMkLst>
            <pc:docMk/>
            <pc:sldMk cId="1670414324" sldId="265"/>
            <ac:spMk id="357" creationId="{A63985AD-B2E2-723E-AB37-720D41F47E34}"/>
          </ac:spMkLst>
        </pc:spChg>
        <pc:spChg chg="mod">
          <ac:chgData name="PJ Grant" userId="21cab94c-7745-4db5-aa88-56cdc0183ba7" providerId="ADAL" clId="{BA766588-C161-4217-9A3D-720C5ACA682C}" dt="2024-12-01T19:39:22.184" v="2955" actId="571"/>
          <ac:spMkLst>
            <pc:docMk/>
            <pc:sldMk cId="1670414324" sldId="265"/>
            <ac:spMk id="358" creationId="{53C641DD-0DAA-EEBE-11D4-E9C9587456B5}"/>
          </ac:spMkLst>
        </pc:spChg>
        <pc:spChg chg="mod">
          <ac:chgData name="PJ Grant" userId="21cab94c-7745-4db5-aa88-56cdc0183ba7" providerId="ADAL" clId="{BA766588-C161-4217-9A3D-720C5ACA682C}" dt="2024-12-01T19:39:26.818" v="2957" actId="571"/>
          <ac:spMkLst>
            <pc:docMk/>
            <pc:sldMk cId="1670414324" sldId="265"/>
            <ac:spMk id="360" creationId="{1EF97B62-B426-0E52-116A-000DEC8885D2}"/>
          </ac:spMkLst>
        </pc:spChg>
        <pc:spChg chg="mod">
          <ac:chgData name="PJ Grant" userId="21cab94c-7745-4db5-aa88-56cdc0183ba7" providerId="ADAL" clId="{BA766588-C161-4217-9A3D-720C5ACA682C}" dt="2024-12-01T19:39:28.496" v="2958" actId="20577"/>
          <ac:spMkLst>
            <pc:docMk/>
            <pc:sldMk cId="1670414324" sldId="265"/>
            <ac:spMk id="361" creationId="{8F0E4C76-C52E-31C8-2B70-08CC90C0F22E}"/>
          </ac:spMkLst>
        </pc:spChg>
        <pc:grpChg chg="mod ord">
          <ac:chgData name="PJ Grant" userId="21cab94c-7745-4db5-aa88-56cdc0183ba7" providerId="ADAL" clId="{BA766588-C161-4217-9A3D-720C5ACA682C}" dt="2024-12-01T19:39:11.763" v="2950"/>
          <ac:grpSpMkLst>
            <pc:docMk/>
            <pc:sldMk cId="1670414324" sldId="265"/>
            <ac:grpSpMk id="311" creationId="{6CEF88A4-ECCF-FD27-59E7-2B8D5E186310}"/>
          </ac:grpSpMkLst>
        </pc:grpChg>
        <pc:grpChg chg="add del mod">
          <ac:chgData name="PJ Grant" userId="21cab94c-7745-4db5-aa88-56cdc0183ba7" providerId="ADAL" clId="{BA766588-C161-4217-9A3D-720C5ACA682C}" dt="2024-12-01T19:38:35.140" v="2778" actId="165"/>
          <ac:grpSpMkLst>
            <pc:docMk/>
            <pc:sldMk cId="1670414324" sldId="265"/>
            <ac:grpSpMk id="350" creationId="{517A8E79-795E-E748-1726-0B7C571C92C1}"/>
          </ac:grpSpMkLst>
        </pc:grpChg>
        <pc:grpChg chg="add mod ord">
          <ac:chgData name="PJ Grant" userId="21cab94c-7745-4db5-aa88-56cdc0183ba7" providerId="ADAL" clId="{BA766588-C161-4217-9A3D-720C5ACA682C}" dt="2024-12-01T19:39:11.763" v="2950"/>
          <ac:grpSpMkLst>
            <pc:docMk/>
            <pc:sldMk cId="1670414324" sldId="265"/>
            <ac:grpSpMk id="351" creationId="{E0E3F453-33FB-486B-F4F2-F453C11D32AA}"/>
          </ac:grpSpMkLst>
        </pc:grpChg>
        <pc:grpChg chg="add mod ord">
          <ac:chgData name="PJ Grant" userId="21cab94c-7745-4db5-aa88-56cdc0183ba7" providerId="ADAL" clId="{BA766588-C161-4217-9A3D-720C5ACA682C}" dt="2024-12-01T19:39:15.309" v="2953" actId="1076"/>
          <ac:grpSpMkLst>
            <pc:docMk/>
            <pc:sldMk cId="1670414324" sldId="265"/>
            <ac:grpSpMk id="352" creationId="{2732110D-3092-5DDC-A295-5F08A7FBDBA4}"/>
          </ac:grpSpMkLst>
        </pc:grpChg>
        <pc:grpChg chg="add mod">
          <ac:chgData name="PJ Grant" userId="21cab94c-7745-4db5-aa88-56cdc0183ba7" providerId="ADAL" clId="{BA766588-C161-4217-9A3D-720C5ACA682C}" dt="2024-12-01T19:39:24.487" v="2956" actId="1076"/>
          <ac:grpSpMkLst>
            <pc:docMk/>
            <pc:sldMk cId="1670414324" sldId="265"/>
            <ac:grpSpMk id="356" creationId="{86515D9C-B185-B714-416A-58E5FAE8DB84}"/>
          </ac:grpSpMkLst>
        </pc:grpChg>
        <pc:grpChg chg="add mod">
          <ac:chgData name="PJ Grant" userId="21cab94c-7745-4db5-aa88-56cdc0183ba7" providerId="ADAL" clId="{BA766588-C161-4217-9A3D-720C5ACA682C}" dt="2024-12-01T19:39:49.079" v="2960" actId="1076"/>
          <ac:grpSpMkLst>
            <pc:docMk/>
            <pc:sldMk cId="1670414324" sldId="265"/>
            <ac:grpSpMk id="359" creationId="{6AB46D2A-716E-CD87-D780-8334FC8348C9}"/>
          </ac:grpSpMkLst>
        </pc:grpChg>
        <pc:graphicFrameChg chg="mod">
          <ac:chgData name="PJ Grant" userId="21cab94c-7745-4db5-aa88-56cdc0183ba7" providerId="ADAL" clId="{BA766588-C161-4217-9A3D-720C5ACA682C}" dt="2024-12-01T19:39:11.769" v="2952"/>
          <ac:graphicFrameMkLst>
            <pc:docMk/>
            <pc:sldMk cId="1670414324" sldId="265"/>
            <ac:graphicFrameMk id="5" creationId="{4EA42FAB-65BD-F237-2CA8-B2B9F7D8BD52}"/>
          </ac:graphicFrameMkLst>
        </pc:graphicFrameChg>
        <pc:graphicFrameChg chg="del">
          <ac:chgData name="PJ Grant" userId="21cab94c-7745-4db5-aa88-56cdc0183ba7" providerId="ADAL" clId="{BA766588-C161-4217-9A3D-720C5ACA682C}" dt="2024-12-01T19:29:17.747" v="1918"/>
          <ac:graphicFrameMkLst>
            <pc:docMk/>
            <pc:sldMk cId="1670414324" sldId="265"/>
            <ac:graphicFrameMk id="307" creationId="{8C021D62-A459-F4FB-0F2D-1F8E758E9572}"/>
          </ac:graphicFrameMkLst>
        </pc:graphicFrameChg>
        <pc:graphicFrameChg chg="del">
          <ac:chgData name="PJ Grant" userId="21cab94c-7745-4db5-aa88-56cdc0183ba7" providerId="ADAL" clId="{BA766588-C161-4217-9A3D-720C5ACA682C}" dt="2024-12-01T19:29:17.964" v="1999"/>
          <ac:graphicFrameMkLst>
            <pc:docMk/>
            <pc:sldMk cId="1670414324" sldId="265"/>
            <ac:graphicFrameMk id="308" creationId="{C11FE450-6A14-AE2D-8F54-1D9947DE1AC9}"/>
          </ac:graphicFrameMkLst>
        </pc:graphicFrameChg>
        <pc:graphicFrameChg chg="add mod ord">
          <ac:chgData name="PJ Grant" userId="21cab94c-7745-4db5-aa88-56cdc0183ba7" providerId="ADAL" clId="{BA766588-C161-4217-9A3D-720C5ACA682C}" dt="2024-12-01T19:39:11.763" v="2950"/>
          <ac:graphicFrameMkLst>
            <pc:docMk/>
            <pc:sldMk cId="1670414324" sldId="265"/>
            <ac:graphicFrameMk id="345" creationId="{24294B97-E23F-ABE7-4E4C-755AFDAB1D03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39:11.763" v="2950"/>
          <ac:graphicFrameMkLst>
            <pc:docMk/>
            <pc:sldMk cId="1670414324" sldId="265"/>
            <ac:graphicFrameMk id="346" creationId="{F484BBE0-7C2A-A1DE-B84E-A8B31E7C0F8D}"/>
          </ac:graphicFrameMkLst>
        </pc:graphicFrameChg>
        <pc:graphicFrameChg chg="add mod ord">
          <ac:chgData name="PJ Grant" userId="21cab94c-7745-4db5-aa88-56cdc0183ba7" providerId="ADAL" clId="{BA766588-C161-4217-9A3D-720C5ACA682C}" dt="2024-12-01T19:39:11.763" v="2950"/>
          <ac:graphicFrameMkLst>
            <pc:docMk/>
            <pc:sldMk cId="1670414324" sldId="265"/>
            <ac:graphicFrameMk id="355" creationId="{0A0E788D-CD61-15AA-6D34-85668DCC2DE6}"/>
          </ac:graphicFrameMkLst>
        </pc:graphicFrameChg>
        <pc:picChg chg="del mod ord">
          <ac:chgData name="PJ Grant" userId="21cab94c-7745-4db5-aa88-56cdc0183ba7" providerId="ADAL" clId="{BA766588-C161-4217-9A3D-720C5ACA682C}" dt="2024-12-01T19:37:27.844" v="2756" actId="478"/>
          <ac:picMkLst>
            <pc:docMk/>
            <pc:sldMk cId="1670414324" sldId="265"/>
            <ac:picMk id="316" creationId="{C1BBAE09-B1E4-AEC8-FCBB-5107667CF75B}"/>
          </ac:picMkLst>
        </pc:picChg>
        <pc:picChg chg="del mod ord">
          <ac:chgData name="PJ Grant" userId="21cab94c-7745-4db5-aa88-56cdc0183ba7" providerId="ADAL" clId="{BA766588-C161-4217-9A3D-720C5ACA682C}" dt="2024-12-01T19:39:03.249" v="2786" actId="478"/>
          <ac:picMkLst>
            <pc:docMk/>
            <pc:sldMk cId="1670414324" sldId="265"/>
            <ac:picMk id="317" creationId="{B8829D0C-D77A-7E37-7583-434D275B6075}"/>
          </ac:picMkLst>
        </pc:picChg>
        <pc:cxnChg chg="mod ord">
          <ac:chgData name="PJ Grant" userId="21cab94c-7745-4db5-aa88-56cdc0183ba7" providerId="ADAL" clId="{BA766588-C161-4217-9A3D-720C5ACA682C}" dt="2024-12-01T19:39:11.763" v="2950"/>
          <ac:cxnSpMkLst>
            <pc:docMk/>
            <pc:sldMk cId="1670414324" sldId="265"/>
            <ac:cxnSpMk id="11" creationId="{70B5BF3B-3099-6D25-8D6F-C16E31D1279A}"/>
          </ac:cxnSpMkLst>
        </pc:cxnChg>
        <pc:cxnChg chg="mod ord">
          <ac:chgData name="PJ Grant" userId="21cab94c-7745-4db5-aa88-56cdc0183ba7" providerId="ADAL" clId="{BA766588-C161-4217-9A3D-720C5ACA682C}" dt="2024-12-01T19:39:11.763" v="2950"/>
          <ac:cxnSpMkLst>
            <pc:docMk/>
            <pc:sldMk cId="1670414324" sldId="265"/>
            <ac:cxnSpMk id="56" creationId="{0DCE7A56-0655-0F1C-53C0-9A6BBE69D280}"/>
          </ac:cxnSpMkLst>
        </pc:cxnChg>
        <pc:cxnChg chg="mod ord">
          <ac:chgData name="PJ Grant" userId="21cab94c-7745-4db5-aa88-56cdc0183ba7" providerId="ADAL" clId="{BA766588-C161-4217-9A3D-720C5ACA682C}" dt="2024-12-01T19:39:11.763" v="2950"/>
          <ac:cxnSpMkLst>
            <pc:docMk/>
            <pc:sldMk cId="1670414324" sldId="265"/>
            <ac:cxnSpMk id="147" creationId="{41F5C6BC-5A0A-8F53-2164-77C85F9971C4}"/>
          </ac:cxnSpMkLst>
        </pc:cxnChg>
      </pc:sldChg>
      <pc:sldChg chg="addSp delSp modSp del mod ord">
        <pc:chgData name="PJ Grant" userId="21cab94c-7745-4db5-aa88-56cdc0183ba7" providerId="ADAL" clId="{BA766588-C161-4217-9A3D-720C5ACA682C}" dt="2024-12-01T20:23:33.829" v="10007" actId="47"/>
        <pc:sldMkLst>
          <pc:docMk/>
          <pc:sldMk cId="2552367792" sldId="266"/>
        </pc:sldMkLst>
        <pc:spChg chg="del">
          <ac:chgData name="PJ Grant" userId="21cab94c-7745-4db5-aa88-56cdc0183ba7" providerId="ADAL" clId="{BA766588-C161-4217-9A3D-720C5ACA682C}" dt="2024-12-01T19:07:11.884" v="0" actId="478"/>
          <ac:spMkLst>
            <pc:docMk/>
            <pc:sldMk cId="2552367792" sldId="266"/>
            <ac:spMk id="8" creationId="{4F684A2B-C3DC-D04F-1DC4-BFCB61328604}"/>
          </ac:spMkLst>
        </pc:spChg>
        <pc:spChg chg="mod">
          <ac:chgData name="PJ Grant" userId="21cab94c-7745-4db5-aa88-56cdc0183ba7" providerId="ADAL" clId="{BA766588-C161-4217-9A3D-720C5ACA682C}" dt="2024-12-01T19:07:45.234" v="9" actId="1076"/>
          <ac:spMkLst>
            <pc:docMk/>
            <pc:sldMk cId="2552367792" sldId="266"/>
            <ac:spMk id="10" creationId="{94726E28-9BAF-952A-DD7E-9CB6EC7770C3}"/>
          </ac:spMkLst>
        </pc:spChg>
        <pc:spChg chg="add del mod">
          <ac:chgData name="PJ Grant" userId="21cab94c-7745-4db5-aa88-56cdc0183ba7" providerId="ADAL" clId="{BA766588-C161-4217-9A3D-720C5ACA682C}" dt="2024-12-01T19:07:25.096" v="3" actId="478"/>
          <ac:spMkLst>
            <pc:docMk/>
            <pc:sldMk cId="2552367792" sldId="266"/>
            <ac:spMk id="11" creationId="{846B954B-2858-BB09-1CE6-041535481C94}"/>
          </ac:spMkLst>
        </pc:spChg>
        <pc:spChg chg="add mod">
          <ac:chgData name="PJ Grant" userId="21cab94c-7745-4db5-aa88-56cdc0183ba7" providerId="ADAL" clId="{BA766588-C161-4217-9A3D-720C5ACA682C}" dt="2024-12-01T19:08:19.115" v="113" actId="20577"/>
          <ac:spMkLst>
            <pc:docMk/>
            <pc:sldMk cId="2552367792" sldId="266"/>
            <ac:spMk id="13" creationId="{EE408650-7AE2-ACE3-1B81-C4227AA5B671}"/>
          </ac:spMkLst>
        </pc:spChg>
        <pc:cxnChg chg="add mod">
          <ac:chgData name="PJ Grant" userId="21cab94c-7745-4db5-aa88-56cdc0183ba7" providerId="ADAL" clId="{BA766588-C161-4217-9A3D-720C5ACA682C}" dt="2024-12-01T19:07:54.710" v="11" actId="14100"/>
          <ac:cxnSpMkLst>
            <pc:docMk/>
            <pc:sldMk cId="2552367792" sldId="266"/>
            <ac:cxnSpMk id="12" creationId="{D9FCAC3D-C65E-335A-0140-F5E3958EA050}"/>
          </ac:cxnSpMkLst>
        </pc:cxnChg>
      </pc:sldChg>
      <pc:sldChg chg="addSp delSp modSp mod">
        <pc:chgData name="PJ Grant" userId="21cab94c-7745-4db5-aa88-56cdc0183ba7" providerId="ADAL" clId="{BA766588-C161-4217-9A3D-720C5ACA682C}" dt="2024-12-01T20:00:41.564" v="7804" actId="14100"/>
        <pc:sldMkLst>
          <pc:docMk/>
          <pc:sldMk cId="1411550433" sldId="267"/>
        </pc:sldMkLst>
        <pc:spChg chg="mod ord">
          <ac:chgData name="PJ Grant" userId="21cab94c-7745-4db5-aa88-56cdc0183ba7" providerId="ADAL" clId="{BA766588-C161-4217-9A3D-720C5ACA682C}" dt="2024-12-01T19:51:47.278" v="6561"/>
          <ac:spMkLst>
            <pc:docMk/>
            <pc:sldMk cId="1411550433" sldId="267"/>
            <ac:spMk id="2" creationId="{D1C65046-AC7D-D54F-8564-14709AD53B66}"/>
          </ac:spMkLst>
        </pc:spChg>
        <pc:spChg chg="mod ord">
          <ac:chgData name="PJ Grant" userId="21cab94c-7745-4db5-aa88-56cdc0183ba7" providerId="ADAL" clId="{BA766588-C161-4217-9A3D-720C5ACA682C}" dt="2024-12-01T19:51:47.279" v="6563"/>
          <ac:spMkLst>
            <pc:docMk/>
            <pc:sldMk cId="1411550433" sldId="267"/>
            <ac:spMk id="3" creationId="{8FC8C2E9-8DCB-1E07-1D58-D6A3D6FFEE47}"/>
          </ac:spMkLst>
        </pc:spChg>
        <pc:spChg chg="mod ord">
          <ac:chgData name="PJ Grant" userId="21cab94c-7745-4db5-aa88-56cdc0183ba7" providerId="ADAL" clId="{BA766588-C161-4217-9A3D-720C5ACA682C}" dt="2024-12-01T19:51:47.279" v="6565"/>
          <ac:spMkLst>
            <pc:docMk/>
            <pc:sldMk cId="1411550433" sldId="267"/>
            <ac:spMk id="6" creationId="{B34E74D3-A03A-B415-F22E-52EDE6BAA645}"/>
          </ac:spMkLst>
        </pc:spChg>
        <pc:spChg chg="mod ord">
          <ac:chgData name="PJ Grant" userId="21cab94c-7745-4db5-aa88-56cdc0183ba7" providerId="ADAL" clId="{BA766588-C161-4217-9A3D-720C5ACA682C}" dt="2024-12-01T20:00:41.564" v="7804" actId="14100"/>
          <ac:spMkLst>
            <pc:docMk/>
            <pc:sldMk cId="1411550433" sldId="267"/>
            <ac:spMk id="7" creationId="{6EF13D1C-34AA-FE99-1002-A23F77CE4223}"/>
          </ac:spMkLst>
        </pc:spChg>
        <pc:spChg chg="mod ord">
          <ac:chgData name="PJ Grant" userId="21cab94c-7745-4db5-aa88-56cdc0183ba7" providerId="ADAL" clId="{BA766588-C161-4217-9A3D-720C5ACA682C}" dt="2024-12-01T19:51:47.279" v="6571"/>
          <ac:spMkLst>
            <pc:docMk/>
            <pc:sldMk cId="1411550433" sldId="267"/>
            <ac:spMk id="9" creationId="{D6AA513B-2B53-A4BB-C5FD-E65478520146}"/>
          </ac:spMkLst>
        </pc:spChg>
        <pc:spChg chg="mod ord">
          <ac:chgData name="PJ Grant" userId="21cab94c-7745-4db5-aa88-56cdc0183ba7" providerId="ADAL" clId="{BA766588-C161-4217-9A3D-720C5ACA682C}" dt="2024-12-01T19:51:47.280" v="6573"/>
          <ac:spMkLst>
            <pc:docMk/>
            <pc:sldMk cId="1411550433" sldId="267"/>
            <ac:spMk id="13" creationId="{4508E671-2668-15E3-E1C1-8E467A2C3AFB}"/>
          </ac:spMkLst>
        </pc:spChg>
        <pc:spChg chg="mod ord">
          <ac:chgData name="PJ Grant" userId="21cab94c-7745-4db5-aa88-56cdc0183ba7" providerId="ADAL" clId="{BA766588-C161-4217-9A3D-720C5ACA682C}" dt="2024-12-01T19:51:47.282" v="6583"/>
          <ac:spMkLst>
            <pc:docMk/>
            <pc:sldMk cId="1411550433" sldId="267"/>
            <ac:spMk id="18" creationId="{13A30F9F-8A4F-520A-5D56-32E379635F68}"/>
          </ac:spMkLst>
        </pc:spChg>
        <pc:spChg chg="mod ord">
          <ac:chgData name="PJ Grant" userId="21cab94c-7745-4db5-aa88-56cdc0183ba7" providerId="ADAL" clId="{BA766588-C161-4217-9A3D-720C5ACA682C}" dt="2024-12-01T19:47:18.326" v="6080" actId="1076"/>
          <ac:spMkLst>
            <pc:docMk/>
            <pc:sldMk cId="1411550433" sldId="267"/>
            <ac:spMk id="20" creationId="{28BEA1D4-97F6-B92A-8022-D2700FD9973E}"/>
          </ac:spMkLst>
        </pc:spChg>
        <pc:spChg chg="mod ord">
          <ac:chgData name="PJ Grant" userId="21cab94c-7745-4db5-aa88-56cdc0183ba7" providerId="ADAL" clId="{BA766588-C161-4217-9A3D-720C5ACA682C}" dt="2024-12-01T19:47:22.023" v="6081" actId="1076"/>
          <ac:spMkLst>
            <pc:docMk/>
            <pc:sldMk cId="1411550433" sldId="267"/>
            <ac:spMk id="21" creationId="{EC3C70F8-C1BC-4F60-A486-B95FE6712F4F}"/>
          </ac:spMkLst>
        </pc:spChg>
        <pc:spChg chg="mod ord">
          <ac:chgData name="PJ Grant" userId="21cab94c-7745-4db5-aa88-56cdc0183ba7" providerId="ADAL" clId="{BA766588-C161-4217-9A3D-720C5ACA682C}" dt="2024-12-01T19:47:31.907" v="6084" actId="1076"/>
          <ac:spMkLst>
            <pc:docMk/>
            <pc:sldMk cId="1411550433" sldId="267"/>
            <ac:spMk id="22" creationId="{C1EB9608-C259-0906-1E99-0BA25E285B01}"/>
          </ac:spMkLst>
        </pc:spChg>
        <pc:spChg chg="mod ord">
          <ac:chgData name="PJ Grant" userId="21cab94c-7745-4db5-aa88-56cdc0183ba7" providerId="ADAL" clId="{BA766588-C161-4217-9A3D-720C5ACA682C}" dt="2024-12-01T19:47:29.591" v="6083" actId="1076"/>
          <ac:spMkLst>
            <pc:docMk/>
            <pc:sldMk cId="1411550433" sldId="267"/>
            <ac:spMk id="23" creationId="{E8641051-7194-BEB3-DB98-F4E85078D8AF}"/>
          </ac:spMkLst>
        </pc:spChg>
        <pc:spChg chg="mod ord">
          <ac:chgData name="PJ Grant" userId="21cab94c-7745-4db5-aa88-56cdc0183ba7" providerId="ADAL" clId="{BA766588-C161-4217-9A3D-720C5ACA682C}" dt="2024-12-01T19:51:47.280" v="6575"/>
          <ac:spMkLst>
            <pc:docMk/>
            <pc:sldMk cId="1411550433" sldId="267"/>
            <ac:spMk id="31" creationId="{7BE390F9-E27E-D4E8-CE0A-804E2CCFBF7B}"/>
          </ac:spMkLst>
        </pc:spChg>
        <pc:spChg chg="mod ord">
          <ac:chgData name="PJ Grant" userId="21cab94c-7745-4db5-aa88-56cdc0183ba7" providerId="ADAL" clId="{BA766588-C161-4217-9A3D-720C5ACA682C}" dt="2024-12-01T19:51:47.282" v="6585"/>
          <ac:spMkLst>
            <pc:docMk/>
            <pc:sldMk cId="1411550433" sldId="267"/>
            <ac:spMk id="51" creationId="{98277918-5AAE-5800-31F8-811B2566AB2F}"/>
          </ac:spMkLst>
        </pc:spChg>
        <pc:spChg chg="mod ord">
          <ac:chgData name="PJ Grant" userId="21cab94c-7745-4db5-aa88-56cdc0183ba7" providerId="ADAL" clId="{BA766588-C161-4217-9A3D-720C5ACA682C}" dt="2024-12-01T19:51:47.284" v="6589"/>
          <ac:spMkLst>
            <pc:docMk/>
            <pc:sldMk cId="1411550433" sldId="267"/>
            <ac:spMk id="57" creationId="{F2F0815F-8B75-4024-87AA-87D356DCD57C}"/>
          </ac:spMkLst>
        </pc:spChg>
        <pc:spChg chg="mod ord">
          <ac:chgData name="PJ Grant" userId="21cab94c-7745-4db5-aa88-56cdc0183ba7" providerId="ADAL" clId="{BA766588-C161-4217-9A3D-720C5ACA682C}" dt="2024-12-01T19:51:47.284" v="6593"/>
          <ac:spMkLst>
            <pc:docMk/>
            <pc:sldMk cId="1411550433" sldId="267"/>
            <ac:spMk id="110" creationId="{C6205D91-524E-3994-4670-31D386899E43}"/>
          </ac:spMkLst>
        </pc:spChg>
        <pc:spChg chg="mod">
          <ac:chgData name="PJ Grant" userId="21cab94c-7745-4db5-aa88-56cdc0183ba7" providerId="ADAL" clId="{BA766588-C161-4217-9A3D-720C5ACA682C}" dt="2024-12-01T19:51:47.284" v="6594"/>
          <ac:spMkLst>
            <pc:docMk/>
            <pc:sldMk cId="1411550433" sldId="267"/>
            <ac:spMk id="111" creationId="{9C74E797-A6FF-7E1D-F1D7-5EE3BE57517A}"/>
          </ac:spMkLst>
        </pc:spChg>
        <pc:spChg chg="mod">
          <ac:chgData name="PJ Grant" userId="21cab94c-7745-4db5-aa88-56cdc0183ba7" providerId="ADAL" clId="{BA766588-C161-4217-9A3D-720C5ACA682C}" dt="2024-12-01T19:51:47.284" v="6595"/>
          <ac:spMkLst>
            <pc:docMk/>
            <pc:sldMk cId="1411550433" sldId="267"/>
            <ac:spMk id="132" creationId="{AD8C0E2F-18C4-0ED1-E636-633028B0CDA7}"/>
          </ac:spMkLst>
        </pc:spChg>
        <pc:spChg chg="mod">
          <ac:chgData name="PJ Grant" userId="21cab94c-7745-4db5-aa88-56cdc0183ba7" providerId="ADAL" clId="{BA766588-C161-4217-9A3D-720C5ACA682C}" dt="2024-12-01T19:51:47.285" v="6596"/>
          <ac:spMkLst>
            <pc:docMk/>
            <pc:sldMk cId="1411550433" sldId="267"/>
            <ac:spMk id="133" creationId="{C53C585C-E30A-D577-1B61-6ECB7737E6A9}"/>
          </ac:spMkLst>
        </pc:spChg>
        <pc:spChg chg="mod">
          <ac:chgData name="PJ Grant" userId="21cab94c-7745-4db5-aa88-56cdc0183ba7" providerId="ADAL" clId="{BA766588-C161-4217-9A3D-720C5ACA682C}" dt="2024-12-01T19:51:47.286" v="6601"/>
          <ac:spMkLst>
            <pc:docMk/>
            <pc:sldMk cId="1411550433" sldId="267"/>
            <ac:spMk id="138" creationId="{32D376BA-2E23-24FD-3322-EAB99DAF3AC0}"/>
          </ac:spMkLst>
        </pc:spChg>
        <pc:spChg chg="mod">
          <ac:chgData name="PJ Grant" userId="21cab94c-7745-4db5-aa88-56cdc0183ba7" providerId="ADAL" clId="{BA766588-C161-4217-9A3D-720C5ACA682C}" dt="2024-12-01T19:51:47.286" v="6603"/>
          <ac:spMkLst>
            <pc:docMk/>
            <pc:sldMk cId="1411550433" sldId="267"/>
            <ac:spMk id="139" creationId="{839FFDDE-B51A-6DDF-B437-838ED07B1A1C}"/>
          </ac:spMkLst>
        </pc:spChg>
        <pc:spChg chg="mod ord">
          <ac:chgData name="PJ Grant" userId="21cab94c-7745-4db5-aa88-56cdc0183ba7" providerId="ADAL" clId="{BA766588-C161-4217-9A3D-720C5ACA682C}" dt="2024-12-01T19:51:47.285" v="6600"/>
          <ac:spMkLst>
            <pc:docMk/>
            <pc:sldMk cId="1411550433" sldId="267"/>
            <ac:spMk id="140" creationId="{0A27D087-BD8F-5378-63D5-3C07B47E0378}"/>
          </ac:spMkLst>
        </pc:spChg>
        <pc:spChg chg="mod">
          <ac:chgData name="PJ Grant" userId="21cab94c-7745-4db5-aa88-56cdc0183ba7" providerId="ADAL" clId="{BA766588-C161-4217-9A3D-720C5ACA682C}" dt="2024-12-01T19:51:47.286" v="6602"/>
          <ac:spMkLst>
            <pc:docMk/>
            <pc:sldMk cId="1411550433" sldId="267"/>
            <ac:spMk id="141" creationId="{CDFED970-5C57-524A-BB6B-B941C8EF144C}"/>
          </ac:spMkLst>
        </pc:spChg>
        <pc:spChg chg="mod ord">
          <ac:chgData name="PJ Grant" userId="21cab94c-7745-4db5-aa88-56cdc0183ba7" providerId="ADAL" clId="{BA766588-C161-4217-9A3D-720C5ACA682C}" dt="2024-12-01T19:51:47.287" v="6607"/>
          <ac:spMkLst>
            <pc:docMk/>
            <pc:sldMk cId="1411550433" sldId="267"/>
            <ac:spMk id="151" creationId="{DE11036E-8BE9-D269-1ACF-584583CF44A5}"/>
          </ac:spMkLst>
        </pc:spChg>
        <pc:spChg chg="mod">
          <ac:chgData name="PJ Grant" userId="21cab94c-7745-4db5-aa88-56cdc0183ba7" providerId="ADAL" clId="{BA766588-C161-4217-9A3D-720C5ACA682C}" dt="2024-12-01T19:51:47.287" v="6608"/>
          <ac:spMkLst>
            <pc:docMk/>
            <pc:sldMk cId="1411550433" sldId="267"/>
            <ac:spMk id="152" creationId="{3002C88D-8D80-FE05-31C8-07E88BE889CA}"/>
          </ac:spMkLst>
        </pc:spChg>
        <pc:spChg chg="mod">
          <ac:chgData name="PJ Grant" userId="21cab94c-7745-4db5-aa88-56cdc0183ba7" providerId="ADAL" clId="{BA766588-C161-4217-9A3D-720C5ACA682C}" dt="2024-12-01T19:51:47.287" v="6609"/>
          <ac:spMkLst>
            <pc:docMk/>
            <pc:sldMk cId="1411550433" sldId="267"/>
            <ac:spMk id="153" creationId="{9592B64E-47B5-38C6-F529-5ADA938D42EE}"/>
          </ac:spMkLst>
        </pc:spChg>
        <pc:spChg chg="mod">
          <ac:chgData name="PJ Grant" userId="21cab94c-7745-4db5-aa88-56cdc0183ba7" providerId="ADAL" clId="{BA766588-C161-4217-9A3D-720C5ACA682C}" dt="2024-12-01T19:51:47.287" v="6610"/>
          <ac:spMkLst>
            <pc:docMk/>
            <pc:sldMk cId="1411550433" sldId="267"/>
            <ac:spMk id="154" creationId="{63109D76-7CD9-A82B-4330-B33DE456001D}"/>
          </ac:spMkLst>
        </pc:spChg>
        <pc:spChg chg="mod ord">
          <ac:chgData name="PJ Grant" userId="21cab94c-7745-4db5-aa88-56cdc0183ba7" providerId="ADAL" clId="{BA766588-C161-4217-9A3D-720C5ACA682C}" dt="2024-12-01T20:00:33.809" v="7803" actId="20577"/>
          <ac:spMkLst>
            <pc:docMk/>
            <pc:sldMk cId="1411550433" sldId="267"/>
            <ac:spMk id="178" creationId="{5A6A760B-2702-171A-C5EA-4354FD729657}"/>
          </ac:spMkLst>
        </pc:spChg>
        <pc:spChg chg="add del mod modVis">
          <ac:chgData name="PJ Grant" userId="21cab94c-7745-4db5-aa88-56cdc0183ba7" providerId="ADAL" clId="{BA766588-C161-4217-9A3D-720C5ACA682C}" dt="2024-12-01T19:40:10.234" v="3007"/>
          <ac:spMkLst>
            <pc:docMk/>
            <pc:sldMk cId="1411550433" sldId="267"/>
            <ac:spMk id="179" creationId="{6499A9F1-3CFF-0088-8EA5-522AF4D0E052}"/>
          </ac:spMkLst>
        </pc:spChg>
        <pc:spChg chg="add del mod modVis">
          <ac:chgData name="PJ Grant" userId="21cab94c-7745-4db5-aa88-56cdc0183ba7" providerId="ADAL" clId="{BA766588-C161-4217-9A3D-720C5ACA682C}" dt="2024-12-01T19:40:13.418" v="3047"/>
          <ac:spMkLst>
            <pc:docMk/>
            <pc:sldMk cId="1411550433" sldId="267"/>
            <ac:spMk id="180" creationId="{C26BCB51-C50B-22B1-BA7E-1B5B272697C7}"/>
          </ac:spMkLst>
        </pc:spChg>
        <pc:spChg chg="add del mod modVis">
          <ac:chgData name="PJ Grant" userId="21cab94c-7745-4db5-aa88-56cdc0183ba7" providerId="ADAL" clId="{BA766588-C161-4217-9A3D-720C5ACA682C}" dt="2024-12-01T19:40:16.025" v="3090"/>
          <ac:spMkLst>
            <pc:docMk/>
            <pc:sldMk cId="1411550433" sldId="267"/>
            <ac:spMk id="181" creationId="{B53F647F-31C5-9D39-6AC8-4545A4B01FC8}"/>
          </ac:spMkLst>
        </pc:spChg>
        <pc:spChg chg="add del mod modVis">
          <ac:chgData name="PJ Grant" userId="21cab94c-7745-4db5-aa88-56cdc0183ba7" providerId="ADAL" clId="{BA766588-C161-4217-9A3D-720C5ACA682C}" dt="2024-12-01T19:40:21.949" v="3164"/>
          <ac:spMkLst>
            <pc:docMk/>
            <pc:sldMk cId="1411550433" sldId="267"/>
            <ac:spMk id="182" creationId="{85664AD1-15E0-8910-4E06-35564C0E42F6}"/>
          </ac:spMkLst>
        </pc:spChg>
        <pc:spChg chg="add del mod modVis">
          <ac:chgData name="PJ Grant" userId="21cab94c-7745-4db5-aa88-56cdc0183ba7" providerId="ADAL" clId="{BA766588-C161-4217-9A3D-720C5ACA682C}" dt="2024-12-01T19:40:24.097" v="3199"/>
          <ac:spMkLst>
            <pc:docMk/>
            <pc:sldMk cId="1411550433" sldId="267"/>
            <ac:spMk id="183" creationId="{E516F290-8F17-D9E1-04E3-9D52104268C3}"/>
          </ac:spMkLst>
        </pc:spChg>
        <pc:spChg chg="add del mod modVis">
          <ac:chgData name="PJ Grant" userId="21cab94c-7745-4db5-aa88-56cdc0183ba7" providerId="ADAL" clId="{BA766588-C161-4217-9A3D-720C5ACA682C}" dt="2024-12-01T19:40:28.090" v="3236"/>
          <ac:spMkLst>
            <pc:docMk/>
            <pc:sldMk cId="1411550433" sldId="267"/>
            <ac:spMk id="184" creationId="{E522DED8-D520-D52E-6334-85508D524B05}"/>
          </ac:spMkLst>
        </pc:spChg>
        <pc:spChg chg="add del mod modVis">
          <ac:chgData name="PJ Grant" userId="21cab94c-7745-4db5-aa88-56cdc0183ba7" providerId="ADAL" clId="{BA766588-C161-4217-9A3D-720C5ACA682C}" dt="2024-12-01T19:40:30.473" v="3275"/>
          <ac:spMkLst>
            <pc:docMk/>
            <pc:sldMk cId="1411550433" sldId="267"/>
            <ac:spMk id="185" creationId="{F11841F3-0FE7-9B25-F4F0-1E6F91B82180}"/>
          </ac:spMkLst>
        </pc:spChg>
        <pc:spChg chg="add del mod modVis">
          <ac:chgData name="PJ Grant" userId="21cab94c-7745-4db5-aa88-56cdc0183ba7" providerId="ADAL" clId="{BA766588-C161-4217-9A3D-720C5ACA682C}" dt="2024-12-01T19:40:33.054" v="3315"/>
          <ac:spMkLst>
            <pc:docMk/>
            <pc:sldMk cId="1411550433" sldId="267"/>
            <ac:spMk id="186" creationId="{CFC0A52A-A317-10FE-FCE5-2B1C89162920}"/>
          </ac:spMkLst>
        </pc:spChg>
        <pc:spChg chg="add del mod modVis">
          <ac:chgData name="PJ Grant" userId="21cab94c-7745-4db5-aa88-56cdc0183ba7" providerId="ADAL" clId="{BA766588-C161-4217-9A3D-720C5ACA682C}" dt="2024-12-01T19:40:34.037" v="3349"/>
          <ac:spMkLst>
            <pc:docMk/>
            <pc:sldMk cId="1411550433" sldId="267"/>
            <ac:spMk id="187" creationId="{42F571F0-13C6-1907-ECA4-11B3C95C99B6}"/>
          </ac:spMkLst>
        </pc:spChg>
        <pc:spChg chg="add del mod modVis">
          <ac:chgData name="PJ Grant" userId="21cab94c-7745-4db5-aa88-56cdc0183ba7" providerId="ADAL" clId="{BA766588-C161-4217-9A3D-720C5ACA682C}" dt="2024-12-01T19:40:34.678" v="3377"/>
          <ac:spMkLst>
            <pc:docMk/>
            <pc:sldMk cId="1411550433" sldId="267"/>
            <ac:spMk id="188" creationId="{A8DA1650-EA90-86B5-E733-F6D50CBDF795}"/>
          </ac:spMkLst>
        </pc:spChg>
        <pc:spChg chg="add del mod modVis">
          <ac:chgData name="PJ Grant" userId="21cab94c-7745-4db5-aa88-56cdc0183ba7" providerId="ADAL" clId="{BA766588-C161-4217-9A3D-720C5ACA682C}" dt="2024-12-01T19:40:35.474" v="3405"/>
          <ac:spMkLst>
            <pc:docMk/>
            <pc:sldMk cId="1411550433" sldId="267"/>
            <ac:spMk id="189" creationId="{98AFCDF5-51CC-3A38-B59A-679C33ACD26D}"/>
          </ac:spMkLst>
        </pc:spChg>
        <pc:spChg chg="add del mod modVis">
          <ac:chgData name="PJ Grant" userId="21cab94c-7745-4db5-aa88-56cdc0183ba7" providerId="ADAL" clId="{BA766588-C161-4217-9A3D-720C5ACA682C}" dt="2024-12-01T19:40:42.541" v="3482"/>
          <ac:spMkLst>
            <pc:docMk/>
            <pc:sldMk cId="1411550433" sldId="267"/>
            <ac:spMk id="190" creationId="{74BF69F3-C8AB-FD11-FBFE-7F4013A7CE8D}"/>
          </ac:spMkLst>
        </pc:spChg>
        <pc:spChg chg="add del mod modVis">
          <ac:chgData name="PJ Grant" userId="21cab94c-7745-4db5-aa88-56cdc0183ba7" providerId="ADAL" clId="{BA766588-C161-4217-9A3D-720C5ACA682C}" dt="2024-12-01T19:40:49.683" v="3509"/>
          <ac:spMkLst>
            <pc:docMk/>
            <pc:sldMk cId="1411550433" sldId="267"/>
            <ac:spMk id="191" creationId="{761CA939-3EB0-F8C2-0D6D-3F0C878634A6}"/>
          </ac:spMkLst>
        </pc:spChg>
        <pc:spChg chg="add del mod modVis">
          <ac:chgData name="PJ Grant" userId="21cab94c-7745-4db5-aa88-56cdc0183ba7" providerId="ADAL" clId="{BA766588-C161-4217-9A3D-720C5ACA682C}" dt="2024-12-01T19:40:52.030" v="3539"/>
          <ac:spMkLst>
            <pc:docMk/>
            <pc:sldMk cId="1411550433" sldId="267"/>
            <ac:spMk id="192" creationId="{9D1DA224-F089-CC87-6168-D0233CE66981}"/>
          </ac:spMkLst>
        </pc:spChg>
        <pc:spChg chg="add del mod modVis">
          <ac:chgData name="PJ Grant" userId="21cab94c-7745-4db5-aa88-56cdc0183ba7" providerId="ADAL" clId="{BA766588-C161-4217-9A3D-720C5ACA682C}" dt="2024-12-01T19:40:55.321" v="3585"/>
          <ac:spMkLst>
            <pc:docMk/>
            <pc:sldMk cId="1411550433" sldId="267"/>
            <ac:spMk id="193" creationId="{382F5F3A-4DA9-30D6-1A7A-76B5DC31D0CD}"/>
          </ac:spMkLst>
        </pc:spChg>
        <pc:spChg chg="add del mod modVis">
          <ac:chgData name="PJ Grant" userId="21cab94c-7745-4db5-aa88-56cdc0183ba7" providerId="ADAL" clId="{BA766588-C161-4217-9A3D-720C5ACA682C}" dt="2024-12-01T19:40:56.103" v="3614"/>
          <ac:spMkLst>
            <pc:docMk/>
            <pc:sldMk cId="1411550433" sldId="267"/>
            <ac:spMk id="194" creationId="{A5DCDA29-F64B-BAAE-0D72-836B7C8E14C7}"/>
          </ac:spMkLst>
        </pc:spChg>
        <pc:spChg chg="add del">
          <ac:chgData name="PJ Grant" userId="21cab94c-7745-4db5-aa88-56cdc0183ba7" providerId="ADAL" clId="{BA766588-C161-4217-9A3D-720C5ACA682C}" dt="2024-12-01T19:45:28.233" v="6044" actId="478"/>
          <ac:spMkLst>
            <pc:docMk/>
            <pc:sldMk cId="1411550433" sldId="267"/>
            <ac:spMk id="231" creationId="{800BD410-A1EE-D174-F416-06F162624505}"/>
          </ac:spMkLst>
        </pc:spChg>
        <pc:spChg chg="add mod ord">
          <ac:chgData name="PJ Grant" userId="21cab94c-7745-4db5-aa88-56cdc0183ba7" providerId="ADAL" clId="{BA766588-C161-4217-9A3D-720C5ACA682C}" dt="2024-12-01T19:51:47.290" v="6618"/>
          <ac:spMkLst>
            <pc:docMk/>
            <pc:sldMk cId="1411550433" sldId="267"/>
            <ac:spMk id="236" creationId="{6AFFCAA1-0FA1-72F3-5447-D1C228D42D31}"/>
          </ac:spMkLst>
        </pc:spChg>
        <pc:grpChg chg="add mod">
          <ac:chgData name="PJ Grant" userId="21cab94c-7745-4db5-aa88-56cdc0183ba7" providerId="ADAL" clId="{BA766588-C161-4217-9A3D-720C5ACA682C}" dt="2024-12-01T19:51:47.289" v="6616"/>
          <ac:grpSpMkLst>
            <pc:docMk/>
            <pc:sldMk cId="1411550433" sldId="267"/>
            <ac:grpSpMk id="232" creationId="{748AF9CD-9329-388E-D012-3D5F488C6979}"/>
          </ac:grpSpMkLst>
        </pc:grpChg>
        <pc:grpChg chg="add mod">
          <ac:chgData name="PJ Grant" userId="21cab94c-7745-4db5-aa88-56cdc0183ba7" providerId="ADAL" clId="{BA766588-C161-4217-9A3D-720C5ACA682C}" dt="2024-12-01T19:51:47.289" v="6615"/>
          <ac:grpSpMkLst>
            <pc:docMk/>
            <pc:sldMk cId="1411550433" sldId="267"/>
            <ac:grpSpMk id="233" creationId="{DF4BC421-ED63-82B1-0A5D-8DE540978B86}"/>
          </ac:grpSpMkLst>
        </pc:grpChg>
        <pc:grpChg chg="add mod">
          <ac:chgData name="PJ Grant" userId="21cab94c-7745-4db5-aa88-56cdc0183ba7" providerId="ADAL" clId="{BA766588-C161-4217-9A3D-720C5ACA682C}" dt="2024-12-01T19:51:47.289" v="6614"/>
          <ac:grpSpMkLst>
            <pc:docMk/>
            <pc:sldMk cId="1411550433" sldId="267"/>
            <ac:grpSpMk id="234" creationId="{F2B412C2-E8D5-1E82-7B0A-F557977B4B31}"/>
          </ac:grpSpMkLst>
        </pc:grpChg>
        <pc:grpChg chg="add mod">
          <ac:chgData name="PJ Grant" userId="21cab94c-7745-4db5-aa88-56cdc0183ba7" providerId="ADAL" clId="{BA766588-C161-4217-9A3D-720C5ACA682C}" dt="2024-12-01T19:51:47.288" v="6613"/>
          <ac:grpSpMkLst>
            <pc:docMk/>
            <pc:sldMk cId="1411550433" sldId="267"/>
            <ac:grpSpMk id="235" creationId="{134E2AEC-E17C-1BB3-47B6-EEB3BCDCF4F0}"/>
          </ac:grpSpMkLst>
        </pc:grpChg>
        <pc:graphicFrameChg chg="mod">
          <ac:chgData name="PJ Grant" userId="21cab94c-7745-4db5-aa88-56cdc0183ba7" providerId="ADAL" clId="{BA766588-C161-4217-9A3D-720C5ACA682C}" dt="2024-12-01T19:51:47.290" v="6620"/>
          <ac:graphicFrameMkLst>
            <pc:docMk/>
            <pc:sldMk cId="1411550433" sldId="267"/>
            <ac:graphicFrameMk id="4" creationId="{5CD3D686-72E8-84E6-EF04-AE8F8A7F3A6F}"/>
          </ac:graphicFrameMkLst>
        </pc:graphicFrameChg>
        <pc:graphicFrameChg chg="del">
          <ac:chgData name="PJ Grant" userId="21cab94c-7745-4db5-aa88-56cdc0183ba7" providerId="ADAL" clId="{BA766588-C161-4217-9A3D-720C5ACA682C}" dt="2024-12-01T19:41:16.411" v="3708"/>
          <ac:graphicFrameMkLst>
            <pc:docMk/>
            <pc:sldMk cId="1411550433" sldId="267"/>
            <ac:graphicFrameMk id="174" creationId="{7795BAF4-DA4B-DFEF-F7DD-3117F30E9C0D}"/>
          </ac:graphicFrameMkLst>
        </pc:graphicFrameChg>
        <pc:graphicFrameChg chg="del">
          <ac:chgData name="PJ Grant" userId="21cab94c-7745-4db5-aa88-56cdc0183ba7" providerId="ADAL" clId="{BA766588-C161-4217-9A3D-720C5ACA682C}" dt="2024-12-01T19:41:16.451" v="3729"/>
          <ac:graphicFrameMkLst>
            <pc:docMk/>
            <pc:sldMk cId="1411550433" sldId="267"/>
            <ac:graphicFrameMk id="175" creationId="{AE5BCDE4-46D2-2B2A-2DBB-E782CA76FF0F}"/>
          </ac:graphicFrameMkLst>
        </pc:graphicFrameChg>
        <pc:graphicFrameChg chg="del">
          <ac:chgData name="PJ Grant" userId="21cab94c-7745-4db5-aa88-56cdc0183ba7" providerId="ADAL" clId="{BA766588-C161-4217-9A3D-720C5ACA682C}" dt="2024-12-01T19:41:16.490" v="3750"/>
          <ac:graphicFrameMkLst>
            <pc:docMk/>
            <pc:sldMk cId="1411550433" sldId="267"/>
            <ac:graphicFrameMk id="176" creationId="{BD5D2303-6BC7-DA32-9702-1345F70B13FF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19.421" v="3905"/>
          <ac:graphicFrameMkLst>
            <pc:docMk/>
            <pc:sldMk cId="1411550433" sldId="267"/>
            <ac:graphicFrameMk id="195" creationId="{4FE28FEE-D9DF-77D6-CF08-7F596EE7D142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19.461" v="3926"/>
          <ac:graphicFrameMkLst>
            <pc:docMk/>
            <pc:sldMk cId="1411550433" sldId="267"/>
            <ac:graphicFrameMk id="196" creationId="{B1566BC3-A444-E7AA-E703-6D040C959BD9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19.499" v="3947"/>
          <ac:graphicFrameMkLst>
            <pc:docMk/>
            <pc:sldMk cId="1411550433" sldId="267"/>
            <ac:graphicFrameMk id="197" creationId="{9D34903D-3B57-F4AA-CE74-1AEE16D75101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0.476" v="4102"/>
          <ac:graphicFrameMkLst>
            <pc:docMk/>
            <pc:sldMk cId="1411550433" sldId="267"/>
            <ac:graphicFrameMk id="198" creationId="{B20001D7-C361-C8E8-2EA0-D0E0E3B4AC0F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0.516" v="4123"/>
          <ac:graphicFrameMkLst>
            <pc:docMk/>
            <pc:sldMk cId="1411550433" sldId="267"/>
            <ac:graphicFrameMk id="199" creationId="{5E01B857-CCFE-3C60-7257-C9E275CA21D2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0.553" v="4144"/>
          <ac:graphicFrameMkLst>
            <pc:docMk/>
            <pc:sldMk cId="1411550433" sldId="267"/>
            <ac:graphicFrameMk id="200" creationId="{88FC16A9-BDB4-144D-7365-1E6F87282DFF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1.705" v="4299"/>
          <ac:graphicFrameMkLst>
            <pc:docMk/>
            <pc:sldMk cId="1411550433" sldId="267"/>
            <ac:graphicFrameMk id="201" creationId="{2C939B39-0425-D7FD-2484-E9AF02AA90B0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1.745" v="4320"/>
          <ac:graphicFrameMkLst>
            <pc:docMk/>
            <pc:sldMk cId="1411550433" sldId="267"/>
            <ac:graphicFrameMk id="202" creationId="{5A779D13-DD92-5EB5-BB0A-B8568FF98811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1.783" v="4341"/>
          <ac:graphicFrameMkLst>
            <pc:docMk/>
            <pc:sldMk cId="1411550433" sldId="267"/>
            <ac:graphicFrameMk id="203" creationId="{773C7154-A947-6E0B-FBFF-A92CB1CD0527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2.425" v="4496"/>
          <ac:graphicFrameMkLst>
            <pc:docMk/>
            <pc:sldMk cId="1411550433" sldId="267"/>
            <ac:graphicFrameMk id="204" creationId="{D4373ECD-4EBA-66B9-B617-E92246D60D8A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2.467" v="4517"/>
          <ac:graphicFrameMkLst>
            <pc:docMk/>
            <pc:sldMk cId="1411550433" sldId="267"/>
            <ac:graphicFrameMk id="205" creationId="{A6712C4F-4A7F-F3A3-DA12-F89E8315EFB9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2.506" v="4538"/>
          <ac:graphicFrameMkLst>
            <pc:docMk/>
            <pc:sldMk cId="1411550433" sldId="267"/>
            <ac:graphicFrameMk id="206" creationId="{F909A00A-6820-3E60-FDD7-B7A13B8EDB35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3.113" v="4693"/>
          <ac:graphicFrameMkLst>
            <pc:docMk/>
            <pc:sldMk cId="1411550433" sldId="267"/>
            <ac:graphicFrameMk id="207" creationId="{606C0BC4-6B1C-1625-13FC-60471E7FCB32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3.157" v="4714"/>
          <ac:graphicFrameMkLst>
            <pc:docMk/>
            <pc:sldMk cId="1411550433" sldId="267"/>
            <ac:graphicFrameMk id="208" creationId="{5D24A32D-052D-01B2-8E97-0599C4380DF2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1:23.194" v="4735"/>
          <ac:graphicFrameMkLst>
            <pc:docMk/>
            <pc:sldMk cId="1411550433" sldId="267"/>
            <ac:graphicFrameMk id="209" creationId="{5C4C779C-886E-7F78-C934-E0E4A4224E65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01.522" v="4827"/>
          <ac:graphicFrameMkLst>
            <pc:docMk/>
            <pc:sldMk cId="1411550433" sldId="267"/>
            <ac:graphicFrameMk id="210" creationId="{4A41F004-F1B9-5E87-6A8A-ED9BC28D6770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01.563" v="4848"/>
          <ac:graphicFrameMkLst>
            <pc:docMk/>
            <pc:sldMk cId="1411550433" sldId="267"/>
            <ac:graphicFrameMk id="211" creationId="{10D647D1-4B08-8947-37D8-ED844BF571FB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01.599" v="4869"/>
          <ac:graphicFrameMkLst>
            <pc:docMk/>
            <pc:sldMk cId="1411550433" sldId="267"/>
            <ac:graphicFrameMk id="212" creationId="{EA870805-5377-785F-A34C-28EC1602F044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3:12.612" v="5912"/>
          <ac:graphicFrameMkLst>
            <pc:docMk/>
            <pc:sldMk cId="1411550433" sldId="267"/>
            <ac:graphicFrameMk id="213" creationId="{1BB7F9CA-266D-DF6D-7045-02DEAF63656C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30.655" v="4951"/>
          <ac:graphicFrameMkLst>
            <pc:docMk/>
            <pc:sldMk cId="1411550433" sldId="267"/>
            <ac:graphicFrameMk id="214" creationId="{FD5FEC05-6C3E-0C4B-16A3-B8CF23FBF4EE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33.495" v="5033"/>
          <ac:graphicFrameMkLst>
            <pc:docMk/>
            <pc:sldMk cId="1411550433" sldId="267"/>
            <ac:graphicFrameMk id="215" creationId="{055EE414-FE7C-C2B4-9AE9-67AE1A220B6B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39.327" v="5119"/>
          <ac:graphicFrameMkLst>
            <pc:docMk/>
            <pc:sldMk cId="1411550433" sldId="267"/>
            <ac:graphicFrameMk id="216" creationId="{1EC50935-812E-A8A9-D20A-FE84582D0039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43.618" v="5201"/>
          <ac:graphicFrameMkLst>
            <pc:docMk/>
            <pc:sldMk cId="1411550433" sldId="267"/>
            <ac:graphicFrameMk id="217" creationId="{4385B47A-3889-CC30-886E-66E9D7E9F561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48.700" v="5296"/>
          <ac:graphicFrameMkLst>
            <pc:docMk/>
            <pc:sldMk cId="1411550433" sldId="267"/>
            <ac:graphicFrameMk id="218" creationId="{A5475574-CA9C-6EBC-8B0F-A957E2576BA0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57.536" v="5568"/>
          <ac:graphicFrameMkLst>
            <pc:docMk/>
            <pc:sldMk cId="1411550433" sldId="267"/>
            <ac:graphicFrameMk id="219" creationId="{6D6CFB8A-2DFA-60BA-E011-2E7F162C0485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51.233" v="5378"/>
          <ac:graphicFrameMkLst>
            <pc:docMk/>
            <pc:sldMk cId="1411550433" sldId="267"/>
            <ac:graphicFrameMk id="220" creationId="{6B2B9AF4-9A98-86E0-DA43-21C6A3BE207F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2:54.910" v="5473"/>
          <ac:graphicFrameMkLst>
            <pc:docMk/>
            <pc:sldMk cId="1411550433" sldId="267"/>
            <ac:graphicFrameMk id="221" creationId="{90E579CB-2136-9C5B-32BE-F2C049ACC411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3:12.652" v="5929"/>
          <ac:graphicFrameMkLst>
            <pc:docMk/>
            <pc:sldMk cId="1411550433" sldId="267"/>
            <ac:graphicFrameMk id="222" creationId="{089EBCFC-3D3A-DBB0-7A20-CC5D4913273B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3:00.580" v="5650"/>
          <ac:graphicFrameMkLst>
            <pc:docMk/>
            <pc:sldMk cId="1411550433" sldId="267"/>
            <ac:graphicFrameMk id="223" creationId="{E16545E3-7302-5D09-5A92-CCB84C06E0CD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3:03.710" v="5745"/>
          <ac:graphicFrameMkLst>
            <pc:docMk/>
            <pc:sldMk cId="1411550433" sldId="267"/>
            <ac:graphicFrameMk id="224" creationId="{0733DE5E-4855-2505-8A55-0E44CE14A976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3:06.431" v="5831"/>
          <ac:graphicFrameMkLst>
            <pc:docMk/>
            <pc:sldMk cId="1411550433" sldId="267"/>
            <ac:graphicFrameMk id="225" creationId="{2D1B19BA-D31F-4DBD-3C11-594C0DD49B98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43:12.688" v="5940"/>
          <ac:graphicFrameMkLst>
            <pc:docMk/>
            <pc:sldMk cId="1411550433" sldId="267"/>
            <ac:graphicFrameMk id="226" creationId="{6B6784E5-11C7-4115-D3F7-73D41217C4D2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51:31.292" v="6294"/>
          <ac:graphicFrameMkLst>
            <pc:docMk/>
            <pc:sldMk cId="1411550433" sldId="267"/>
            <ac:graphicFrameMk id="227" creationId="{9EFDB6DF-B8D9-3E42-0225-ABDC41324792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51:37.215" v="6377"/>
          <ac:graphicFrameMkLst>
            <pc:docMk/>
            <pc:sldMk cId="1411550433" sldId="267"/>
            <ac:graphicFrameMk id="228" creationId="{430160CA-B96F-57A4-B718-71FD901E69F2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51:47.244" v="6554"/>
          <ac:graphicFrameMkLst>
            <pc:docMk/>
            <pc:sldMk cId="1411550433" sldId="267"/>
            <ac:graphicFrameMk id="229" creationId="{24370BE7-2975-D22A-B0AB-97D8085C9767}"/>
          </ac:graphicFrameMkLst>
        </pc:graphicFrameChg>
        <pc:graphicFrameChg chg="add mod ord">
          <ac:chgData name="PJ Grant" userId="21cab94c-7745-4db5-aa88-56cdc0183ba7" providerId="ADAL" clId="{BA766588-C161-4217-9A3D-720C5ACA682C}" dt="2024-12-01T19:51:47.284" v="6591"/>
          <ac:graphicFrameMkLst>
            <pc:docMk/>
            <pc:sldMk cId="1411550433" sldId="267"/>
            <ac:graphicFrameMk id="237" creationId="{CBAA723D-9035-C2F2-EF55-78A1023B1613}"/>
          </ac:graphicFrameMkLst>
        </pc:graphicFrameChg>
        <pc:graphicFrameChg chg="add del mod ord">
          <ac:chgData name="PJ Grant" userId="21cab94c-7745-4db5-aa88-56cdc0183ba7" providerId="ADAL" clId="{BA766588-C161-4217-9A3D-720C5ACA682C}" dt="2024-12-01T19:51:39.379" v="6470"/>
          <ac:graphicFrameMkLst>
            <pc:docMk/>
            <pc:sldMk cId="1411550433" sldId="267"/>
            <ac:graphicFrameMk id="238" creationId="{304A7840-D2F8-27BA-087A-092BD7C583C9}"/>
          </ac:graphicFrameMkLst>
        </pc:graphicFrameChg>
        <pc:graphicFrameChg chg="add mod ord">
          <ac:chgData name="PJ Grant" userId="21cab94c-7745-4db5-aa88-56cdc0183ba7" providerId="ADAL" clId="{BA766588-C161-4217-9A3D-720C5ACA682C}" dt="2024-12-01T19:51:47.285" v="6598"/>
          <ac:graphicFrameMkLst>
            <pc:docMk/>
            <pc:sldMk cId="1411550433" sldId="267"/>
            <ac:graphicFrameMk id="239" creationId="{C6101E3F-F7FF-33D4-2175-5051F7E9B47B}"/>
          </ac:graphicFrameMkLst>
        </pc:graphicFrameChg>
        <pc:graphicFrameChg chg="add mod ord">
          <ac:chgData name="PJ Grant" userId="21cab94c-7745-4db5-aa88-56cdc0183ba7" providerId="ADAL" clId="{BA766588-C161-4217-9A3D-720C5ACA682C}" dt="2024-12-01T19:51:47.286" v="6605"/>
          <ac:graphicFrameMkLst>
            <pc:docMk/>
            <pc:sldMk cId="1411550433" sldId="267"/>
            <ac:graphicFrameMk id="240" creationId="{3784B3A6-33CC-B24B-74C3-EDCD2C045670}"/>
          </ac:graphicFrameMkLst>
        </pc:graphicFrameChg>
        <pc:picChg chg="add mod">
          <ac:chgData name="PJ Grant" userId="21cab94c-7745-4db5-aa88-56cdc0183ba7" providerId="ADAL" clId="{BA766588-C161-4217-9A3D-720C5ACA682C}" dt="2024-12-01T19:47:29.591" v="6083" actId="1076"/>
          <ac:picMkLst>
            <pc:docMk/>
            <pc:sldMk cId="1411550433" sldId="267"/>
            <ac:picMk id="1026" creationId="{EE09D5B5-E6BC-1972-B4B2-BC93BCEF60A1}"/>
          </ac:picMkLst>
        </pc:picChg>
        <pc:picChg chg="add mod">
          <ac:chgData name="PJ Grant" userId="21cab94c-7745-4db5-aa88-56cdc0183ba7" providerId="ADAL" clId="{BA766588-C161-4217-9A3D-720C5ACA682C}" dt="2024-12-01T19:47:31.907" v="6084" actId="1076"/>
          <ac:picMkLst>
            <pc:docMk/>
            <pc:sldMk cId="1411550433" sldId="267"/>
            <ac:picMk id="1028" creationId="{E4F1F10D-FE1F-32A9-39CE-86A8F4F821C4}"/>
          </ac:picMkLst>
        </pc:picChg>
        <pc:picChg chg="add mod">
          <ac:chgData name="PJ Grant" userId="21cab94c-7745-4db5-aa88-56cdc0183ba7" providerId="ADAL" clId="{BA766588-C161-4217-9A3D-720C5ACA682C}" dt="2024-12-01T19:47:22.023" v="6081" actId="1076"/>
          <ac:picMkLst>
            <pc:docMk/>
            <pc:sldMk cId="1411550433" sldId="267"/>
            <ac:picMk id="1032" creationId="{33BDC8BF-E598-C1AE-5205-230130E9B69B}"/>
          </ac:picMkLst>
        </pc:picChg>
        <pc:picChg chg="add mod">
          <ac:chgData name="PJ Grant" userId="21cab94c-7745-4db5-aa88-56cdc0183ba7" providerId="ADAL" clId="{BA766588-C161-4217-9A3D-720C5ACA682C}" dt="2024-12-01T19:47:18.326" v="6080" actId="1076"/>
          <ac:picMkLst>
            <pc:docMk/>
            <pc:sldMk cId="1411550433" sldId="267"/>
            <ac:picMk id="1034" creationId="{A2E63E70-5989-08F6-E35F-A2CE3F5DD86B}"/>
          </ac:picMkLst>
        </pc:picChg>
        <pc:cxnChg chg="mod ord">
          <ac:chgData name="PJ Grant" userId="21cab94c-7745-4db5-aa88-56cdc0183ba7" providerId="ADAL" clId="{BA766588-C161-4217-9A3D-720C5ACA682C}" dt="2024-12-01T19:51:47.279" v="6569"/>
          <ac:cxnSpMkLst>
            <pc:docMk/>
            <pc:sldMk cId="1411550433" sldId="267"/>
            <ac:cxnSpMk id="8" creationId="{95934C45-FCB8-7B79-0BD4-3BDDB637EAA6}"/>
          </ac:cxnSpMkLst>
        </pc:cxnChg>
        <pc:cxnChg chg="mod ord">
          <ac:chgData name="PJ Grant" userId="21cab94c-7745-4db5-aa88-56cdc0183ba7" providerId="ADAL" clId="{BA766588-C161-4217-9A3D-720C5ACA682C}" dt="2024-12-01T19:51:47.280" v="6577"/>
          <ac:cxnSpMkLst>
            <pc:docMk/>
            <pc:sldMk cId="1411550433" sldId="267"/>
            <ac:cxnSpMk id="10" creationId="{7F9FA079-CA62-FC65-ABE4-4A889B567E6D}"/>
          </ac:cxnSpMkLst>
        </pc:cxnChg>
        <pc:cxnChg chg="mod ord">
          <ac:chgData name="PJ Grant" userId="21cab94c-7745-4db5-aa88-56cdc0183ba7" providerId="ADAL" clId="{BA766588-C161-4217-9A3D-720C5ACA682C}" dt="2024-12-01T19:51:47.282" v="6579"/>
          <ac:cxnSpMkLst>
            <pc:docMk/>
            <pc:sldMk cId="1411550433" sldId="267"/>
            <ac:cxnSpMk id="24" creationId="{8125EFEE-40A1-6B79-FDAA-C0BEC1366AD7}"/>
          </ac:cxnSpMkLst>
        </pc:cxnChg>
        <pc:cxnChg chg="mod ord">
          <ac:chgData name="PJ Grant" userId="21cab94c-7745-4db5-aa88-56cdc0183ba7" providerId="ADAL" clId="{BA766588-C161-4217-9A3D-720C5ACA682C}" dt="2024-12-01T19:51:47.282" v="6581"/>
          <ac:cxnSpMkLst>
            <pc:docMk/>
            <pc:sldMk cId="1411550433" sldId="267"/>
            <ac:cxnSpMk id="25" creationId="{F59AC662-F810-A3FA-58BC-7D55BEFD5675}"/>
          </ac:cxnSpMkLst>
        </pc:cxnChg>
        <pc:cxnChg chg="mod ord">
          <ac:chgData name="PJ Grant" userId="21cab94c-7745-4db5-aa88-56cdc0183ba7" providerId="ADAL" clId="{BA766588-C161-4217-9A3D-720C5ACA682C}" dt="2024-12-01T19:51:47.282" v="6587"/>
          <ac:cxnSpMkLst>
            <pc:docMk/>
            <pc:sldMk cId="1411550433" sldId="267"/>
            <ac:cxnSpMk id="55" creationId="{2D312AE2-B2B2-370D-6429-BDC8CAC61830}"/>
          </ac:cxnSpMkLst>
        </pc:cxnChg>
      </pc:sldChg>
      <pc:sldChg chg="modSp add mod">
        <pc:chgData name="PJ Grant" userId="21cab94c-7745-4db5-aa88-56cdc0183ba7" providerId="ADAL" clId="{BA766588-C161-4217-9A3D-720C5ACA682C}" dt="2024-12-01T19:16:38.008" v="767" actId="465"/>
        <pc:sldMkLst>
          <pc:docMk/>
          <pc:sldMk cId="1681660636" sldId="268"/>
        </pc:sldMkLst>
        <pc:spChg chg="mod">
          <ac:chgData name="PJ Grant" userId="21cab94c-7745-4db5-aa88-56cdc0183ba7" providerId="ADAL" clId="{BA766588-C161-4217-9A3D-720C5ACA682C}" dt="2024-12-01T19:16:30.442" v="765" actId="14100"/>
          <ac:spMkLst>
            <pc:docMk/>
            <pc:sldMk cId="1681660636" sldId="268"/>
            <ac:spMk id="10" creationId="{E44935A9-661F-1841-09D6-C51728B1033D}"/>
          </ac:spMkLst>
        </pc:spChg>
        <pc:spChg chg="mod">
          <ac:chgData name="PJ Grant" userId="21cab94c-7745-4db5-aa88-56cdc0183ba7" providerId="ADAL" clId="{BA766588-C161-4217-9A3D-720C5ACA682C}" dt="2024-12-01T19:16:33.399" v="766" actId="1076"/>
          <ac:spMkLst>
            <pc:docMk/>
            <pc:sldMk cId="1681660636" sldId="268"/>
            <ac:spMk id="13" creationId="{79D56853-1F13-A70B-1861-A25FD5184636}"/>
          </ac:spMkLst>
        </pc:spChg>
        <pc:cxnChg chg="mod">
          <ac:chgData name="PJ Grant" userId="21cab94c-7745-4db5-aa88-56cdc0183ba7" providerId="ADAL" clId="{BA766588-C161-4217-9A3D-720C5ACA682C}" dt="2024-12-01T19:16:38.008" v="767" actId="465"/>
          <ac:cxnSpMkLst>
            <pc:docMk/>
            <pc:sldMk cId="1681660636" sldId="268"/>
            <ac:cxnSpMk id="12" creationId="{D2032A26-CB55-C177-DB5F-5D766FBE94E8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88728024819028E-2"/>
          <c:y val="2.7310924369747899E-2"/>
          <c:w val="0.94622543950361948"/>
          <c:h val="0.9453781512605041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79333</c:v>
                </c:pt>
                <c:pt idx="1">
                  <c:v>175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1F-4A70-805E-59F50335F99B}"/>
            </c:ext>
          </c:extLst>
        </c:ser>
        <c:ser>
          <c:idx val="1"/>
          <c:order val="1"/>
          <c:spPr>
            <a:solidFill>
              <a:srgbClr val="6F8DB9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66392</c:v>
                </c:pt>
                <c:pt idx="1">
                  <c:v>157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21F-4A70-805E-59F50335F99B}"/>
            </c:ext>
          </c:extLst>
        </c:ser>
        <c:ser>
          <c:idx val="2"/>
          <c:order val="2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34667</c:v>
                </c:pt>
                <c:pt idx="1">
                  <c:v>146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21F-4A70-805E-59F50335F99B}"/>
            </c:ext>
          </c:extLst>
        </c:ser>
        <c:ser>
          <c:idx val="3"/>
          <c:order val="3"/>
          <c:spPr>
            <a:solidFill>
              <a:srgbClr val="D6D7D9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82667</c:v>
                </c:pt>
                <c:pt idx="1">
                  <c:v>112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21F-4A70-805E-59F50335F9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058504496"/>
        <c:axId val="1"/>
      </c:barChart>
      <c:catAx>
        <c:axId val="20585044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93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58504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76578411405296E-2"/>
          <c:y val="2.7310924369747899E-2"/>
          <c:w val="0.94704684317718946"/>
          <c:h val="0.9453781512605041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4474</c:v>
                </c:pt>
                <c:pt idx="1">
                  <c:v>83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0B-40A0-9B36-D0B10A224240}"/>
            </c:ext>
          </c:extLst>
        </c:ser>
        <c:ser>
          <c:idx val="1"/>
          <c:order val="1"/>
          <c:spPr>
            <a:solidFill>
              <a:srgbClr val="6F8DB9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56097</c:v>
                </c:pt>
                <c:pt idx="1">
                  <c:v>735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0B-40A0-9B36-D0B10A224240}"/>
            </c:ext>
          </c:extLst>
        </c:ser>
        <c:ser>
          <c:idx val="2"/>
          <c:order val="2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70723</c:v>
                </c:pt>
                <c:pt idx="1">
                  <c:v>74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0B-40A0-9B36-D0B10A224240}"/>
            </c:ext>
          </c:extLst>
        </c:ser>
        <c:ser>
          <c:idx val="3"/>
          <c:order val="3"/>
          <c:spPr>
            <a:solidFill>
              <a:srgbClr val="D6D7D9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7708</c:v>
                </c:pt>
                <c:pt idx="1">
                  <c:v>610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50B-40A0-9B36-D0B10A2242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64034719"/>
        <c:axId val="1"/>
      </c:barChart>
      <c:catAx>
        <c:axId val="13640347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93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640347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072324011571841E-2"/>
          <c:y val="2.7310924369747899E-2"/>
          <c:w val="0.94985535197685633"/>
          <c:h val="0.9453781512605041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1">
                  <c:v>127933.3333333333</c:v>
                </c:pt>
                <c:pt idx="2">
                  <c:v>161530.76923076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82-40E5-9EED-FC09CC141EBE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150000</c:v>
                </c:pt>
                <c:pt idx="2">
                  <c:v>13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E82-40E5-9EED-FC09CC141E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929560400"/>
        <c:axId val="1"/>
      </c:barChart>
      <c:catAx>
        <c:axId val="1929560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5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295604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072324011571841E-2"/>
          <c:y val="2.7310924369747899E-2"/>
          <c:w val="0.94985535197685633"/>
          <c:h val="0.9453781512605041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92500</c:v>
                </c:pt>
                <c:pt idx="1">
                  <c:v>128766.5</c:v>
                </c:pt>
                <c:pt idx="2">
                  <c:v>140499.29545454541</c:v>
                </c:pt>
                <c:pt idx="3">
                  <c:v>245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9D-4213-8A0E-6F616C0D9292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92500</c:v>
                </c:pt>
                <c:pt idx="1">
                  <c:v>124550</c:v>
                </c:pt>
                <c:pt idx="2">
                  <c:v>136497</c:v>
                </c:pt>
                <c:pt idx="3">
                  <c:v>22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9D-4213-8A0E-6F616C0D92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54038912"/>
        <c:axId val="1"/>
      </c:barChart>
      <c:catAx>
        <c:axId val="354038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5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540389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73950041174856E-2"/>
          <c:y val="8.3333333333333329E-2"/>
          <c:w val="0.97145209991765025"/>
          <c:h val="0.833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80000</c:v>
                </c:pt>
                <c:pt idx="1">
                  <c:v>0</c:v>
                </c:pt>
                <c:pt idx="2">
                  <c:v>50714.75</c:v>
                </c:pt>
                <c:pt idx="3">
                  <c:v>38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AC-467D-B852-2252CE220E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14566351"/>
        <c:axId val="1"/>
      </c:barChart>
      <c:catAx>
        <c:axId val="16145663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1245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45663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73950041174856E-2"/>
          <c:y val="8.3333333333333329E-2"/>
          <c:w val="0.97145209991765025"/>
          <c:h val="0.833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0</c:v>
                </c:pt>
                <c:pt idx="1">
                  <c:v>68147</c:v>
                </c:pt>
                <c:pt idx="2">
                  <c:v>85724.4</c:v>
                </c:pt>
                <c:pt idx="3">
                  <c:v>7007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C9-4994-9572-89CAA91574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19512847"/>
        <c:axId val="1"/>
      </c:barChart>
      <c:catAx>
        <c:axId val="16195128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1245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195128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141963557247757E-2"/>
          <c:y val="8.3333333333333329E-2"/>
          <c:w val="0.97171607288550443"/>
          <c:h val="0.833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0</c:v>
                </c:pt>
                <c:pt idx="1">
                  <c:v>87932</c:v>
                </c:pt>
                <c:pt idx="2">
                  <c:v>111245.5</c:v>
                </c:pt>
                <c:pt idx="3">
                  <c:v>47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36-42E6-86E2-B09E328A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1530687"/>
        <c:axId val="1"/>
      </c:barChart>
      <c:catAx>
        <c:axId val="19315306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1245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315306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screenshot, font, graphics&#10;&#10;Description automatically generated">
            <a:extLst>
              <a:ext uri="{FF2B5EF4-FFF2-40B4-BE49-F238E27FC236}">
                <a16:creationId xmlns:a16="http://schemas.microsoft.com/office/drawing/2014/main" id="{93F6A522-F2FC-1263-BA89-D3EA8780AA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97" t="1197"/>
          <a:stretch/>
        </p:blipFill>
        <p:spPr>
          <a:xfrm>
            <a:off x="-67880" y="-56273"/>
            <a:ext cx="12327760" cy="6970545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0E2CD4-B95C-14C1-D508-2718B132A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2834B-2E9E-06F1-CED1-927011FA8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CE9CE4-6ADD-D08C-D517-EA004FEC78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82800" y="1962479"/>
            <a:ext cx="9061450" cy="10035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600" b="1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4400">
                <a:solidFill>
                  <a:srgbClr val="4CADE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4892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screenshot, font, graphics&#10;&#10;Description automatically generated">
            <a:extLst>
              <a:ext uri="{FF2B5EF4-FFF2-40B4-BE49-F238E27FC236}">
                <a16:creationId xmlns:a16="http://schemas.microsoft.com/office/drawing/2014/main" id="{93F6A522-F2FC-1263-BA89-D3EA8780AA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97" t="1197"/>
          <a:stretch/>
        </p:blipFill>
        <p:spPr>
          <a:xfrm>
            <a:off x="-67880" y="-56273"/>
            <a:ext cx="12327760" cy="6970545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0E2CD4-B95C-14C1-D508-2718B132A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12834B-2E9E-06F1-CED1-927011FA8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0A3A6D9-6B12-6B60-8AB7-58A13491D8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4865" y="2550157"/>
            <a:ext cx="11642269" cy="110799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600" b="1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8884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4" descr="A picture containing white&#10;&#10;Description automatically generated">
            <a:extLst>
              <a:ext uri="{FF2B5EF4-FFF2-40B4-BE49-F238E27FC236}">
                <a16:creationId xmlns:a16="http://schemas.microsoft.com/office/drawing/2014/main" id="{FEE140E2-CF5C-AE46-899B-B15FFAF10E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753B6F1-A667-0538-4A98-88A5EDA1D3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8" y="136524"/>
            <a:ext cx="6416246" cy="318932"/>
          </a:xfrm>
          <a:prstGeom prst="rect">
            <a:avLst/>
          </a:prstGeom>
          <a:noFill/>
        </p:spPr>
        <p:txBody>
          <a:bodyPr wrap="square" lIns="91440" tIns="45720" rIns="91440" bIns="45720" anchor="b">
            <a:noAutofit/>
          </a:bodyPr>
          <a:lstStyle>
            <a:lvl1pPr marL="0" indent="0">
              <a:buNone/>
              <a:defRPr lang="en-US" sz="1200" spc="300" dirty="0" smtClean="0">
                <a:solidFill>
                  <a:srgbClr val="002060"/>
                </a:solidFill>
                <a:ea typeface="+mn-lt"/>
                <a:cs typeface="+mn-lt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0"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7D9BFF-7C26-41F1-E945-2844D55561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800" y="6356350"/>
            <a:ext cx="2743200" cy="365125"/>
          </a:xfrm>
        </p:spPr>
        <p:txBody>
          <a:bodyPr/>
          <a:lstStyle/>
          <a:p>
            <a:fld id="{6FD03872-1E14-4E65-B532-EA1C01B3513A}" type="datetimeFigureOut">
              <a:rPr lang="en-US" smtClean="0"/>
              <a:t>11/2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EF1D53-8376-F1AC-3479-CD5C39496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B079F9-1734-347A-459F-A188ED811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98000" y="6356350"/>
            <a:ext cx="2743200" cy="365125"/>
          </a:xfrm>
        </p:spPr>
        <p:txBody>
          <a:bodyPr/>
          <a:lstStyle/>
          <a:p>
            <a:fld id="{9F3C3670-40C5-4169-ACA1-1C077946A04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EE5CB8D-25C4-C586-538F-FE1E2EB05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699" y="453306"/>
            <a:ext cx="11642268" cy="461665"/>
          </a:xfrm>
          <a:prstGeom prst="rect">
            <a:avLst/>
          </a:prstGeom>
        </p:spPr>
        <p:txBody>
          <a:bodyPr/>
          <a:lstStyle>
            <a:lvl1pPr>
              <a:defRPr lang="en-US" sz="2400" b="1" kern="1200" dirty="0" smtClean="0">
                <a:solidFill>
                  <a:srgbClr val="0B2738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9359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9369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4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5AF19DD-2916-44AA-B4B1-07C3706CE91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58100" y="1651000"/>
            <a:ext cx="3781426" cy="4443054"/>
          </a:xfrm>
          <a:custGeom>
            <a:avLst/>
            <a:gdLst>
              <a:gd name="connsiteX0" fmla="*/ 0 w 5343526"/>
              <a:gd name="connsiteY0" fmla="*/ 0 h 3465154"/>
              <a:gd name="connsiteX1" fmla="*/ 5343526 w 5343526"/>
              <a:gd name="connsiteY1" fmla="*/ 0 h 3465154"/>
              <a:gd name="connsiteX2" fmla="*/ 5343526 w 5343526"/>
              <a:gd name="connsiteY2" fmla="*/ 3465154 h 3465154"/>
              <a:gd name="connsiteX3" fmla="*/ 0 w 5343526"/>
              <a:gd name="connsiteY3" fmla="*/ 3465154 h 3465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43526" h="3465154">
                <a:moveTo>
                  <a:pt x="0" y="0"/>
                </a:moveTo>
                <a:lnTo>
                  <a:pt x="5343526" y="0"/>
                </a:lnTo>
                <a:lnTo>
                  <a:pt x="5343526" y="3465154"/>
                </a:lnTo>
                <a:lnTo>
                  <a:pt x="0" y="3465154"/>
                </a:lnTo>
                <a:close/>
              </a:path>
            </a:pathLst>
          </a:custGeom>
          <a:effectLst>
            <a:outerShdw blurRad="228600" dist="127000" dir="2700000" algn="tl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64542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9C156AC-1898-3D7D-9DBB-4D9880C84E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34432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5" progId="TCLayout.ActiveDocument.1">
                  <p:embed/>
                </p:oleObj>
              </mc:Choice>
              <mc:Fallback>
                <p:oleObj name="think-cell Slide" r:id="rId8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C156AC-1898-3D7D-9DBB-4D9880C84E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Content Placeholder 4" descr="A picture containing white&#10;&#10;Description automatically generated">
            <a:extLst>
              <a:ext uri="{FF2B5EF4-FFF2-40B4-BE49-F238E27FC236}">
                <a16:creationId xmlns:a16="http://schemas.microsoft.com/office/drawing/2014/main" id="{05E57D88-8F17-78A1-5F19-2AC0DE2D4DB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-4471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0317EE-DD15-6552-9E35-3284EF93AA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8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D03872-1E14-4E65-B532-EA1C01B3513A}" type="datetimeFigureOut">
              <a:rPr lang="en-US" smtClean="0"/>
              <a:t>11/2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762656-F90C-F7F3-5DC6-DF6615C6C0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B366D5-938E-C5DD-D903-DB3D7D7617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980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C3670-40C5-4169-ACA1-1C077946A04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53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image" Target="../media/image1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slideLayout" Target="../slideLayouts/slideLayout3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chart" Target="../charts/chart1.xml"/><Relationship Id="rId8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tags" Target="../tags/tag60.xml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29" Type="http://schemas.openxmlformats.org/officeDocument/2006/relationships/oleObject" Target="../embeddings/oleObject4.bin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chart" Target="../charts/chart4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slideLayout" Target="../slideLayouts/slideLayout3.xml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31" Type="http://schemas.openxmlformats.org/officeDocument/2006/relationships/chart" Target="../charts/chart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4.png"/><Relationship Id="rId3" Type="http://schemas.openxmlformats.org/officeDocument/2006/relationships/tags" Target="../tags/tag64.xml"/><Relationship Id="rId21" Type="http://schemas.openxmlformats.org/officeDocument/2006/relationships/oleObject" Target="../embeddings/oleObject5.bin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chart" Target="../charts/chart7.xml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slideLayout" Target="../slideLayouts/slideLayout3.xml"/><Relationship Id="rId29" Type="http://schemas.openxmlformats.org/officeDocument/2006/relationships/image" Target="../media/image7.pn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chart" Target="../charts/chart6.xml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chart" Target="../charts/chart5.xml"/><Relationship Id="rId28" Type="http://schemas.openxmlformats.org/officeDocument/2006/relationships/image" Target="../media/image6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image" Target="../media/image1.emf"/><Relationship Id="rId27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20AD54-3C2F-FD48-D542-1ACB2EB5E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AEA1308-9DB8-136E-86C1-1B9B5746F7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EA1308-9DB8-136E-86C1-1B9B5746F7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B47690-C74E-F83F-36C9-B997D1DE0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7" y="136524"/>
            <a:ext cx="10163177" cy="318932"/>
          </a:xfrm>
        </p:spPr>
        <p:txBody>
          <a:bodyPr/>
          <a:lstStyle/>
          <a:p>
            <a:r>
              <a:rPr lang="en-US" dirty="0"/>
              <a:t>DSE5002 PROJECT 1 | EXECUTIVE SUMMAR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78BC7F-373C-C05A-2BCC-59A6185A7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ecutive Summary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3A5F890-E524-5372-9582-D90C761A2055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4935A9-661F-1841-09D6-C51728B1033D}"/>
              </a:ext>
            </a:extLst>
          </p:cNvPr>
          <p:cNvSpPr txBox="1"/>
          <p:nvPr/>
        </p:nvSpPr>
        <p:spPr>
          <a:xfrm>
            <a:off x="266697" y="1589291"/>
            <a:ext cx="11439528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Companies often struggle to differentiate between the critical roles in analytics: </a:t>
            </a:r>
            <a:r>
              <a:rPr lang="en-US" dirty="0">
                <a:solidFill>
                  <a:srgbClr val="0E101A"/>
                </a:solidFill>
                <a:effectLst/>
              </a:rPr>
              <a:t>Data Analyst, Data Engineer, Data Scientist, and Machine Learning Engineer</a:t>
            </a:r>
            <a:r>
              <a:rPr lang="en-US" dirty="0"/>
              <a:t>(MLE). First, we will consider the key differences between the roles and their relevance for our scaling organization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For small to medium-sized enterprises (SMEs), onshore roles typically offer salaries twice as high as offshore positions, although outsourced countries have seen significant salary growth of 35-40% annually from 2020 to 2022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is report recommends that the CEO establish an analytics function by hiring a Senior Expert Level Data Scientist and a Mid-Level Data Engineer, both based in the U.S. The estimated total cost for these roles, including overhead, is around $250,000 to $300,000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Once the value of a dedicated analytics function has been demonstrated, we suggest looking to local talent to strengthen the team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Canada, Great Britain, France and Spain present attractive offshoring destinations with a cost-effective and highly educated workforc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2032A26-CB55-C177-DB5F-5D766FBE94E8}"/>
              </a:ext>
            </a:extLst>
          </p:cNvPr>
          <p:cNvCxnSpPr>
            <a:cxnSpLocks/>
          </p:cNvCxnSpPr>
          <p:nvPr/>
        </p:nvCxnSpPr>
        <p:spPr>
          <a:xfrm>
            <a:off x="276912" y="1532142"/>
            <a:ext cx="114293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79D56853-1F13-A70B-1861-A25FD5184636}"/>
              </a:ext>
            </a:extLst>
          </p:cNvPr>
          <p:cNvSpPr txBox="1"/>
          <p:nvPr/>
        </p:nvSpPr>
        <p:spPr>
          <a:xfrm>
            <a:off x="276911" y="1105660"/>
            <a:ext cx="7374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urpose of analysis, recommendation and phas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6606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D8579B6-E1E7-1E40-7D14-9830658C8E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4369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04" imgH="405" progId="TCLayout.ActiveDocument.1">
                  <p:embed/>
                </p:oleObj>
              </mc:Choice>
              <mc:Fallback>
                <p:oleObj name="think-cell Slide" r:id="rId3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8579B6-E1E7-1E40-7D14-9830658C8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ADBF26-6873-9B17-C58A-86B9E108D5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8" y="136524"/>
            <a:ext cx="12026902" cy="318932"/>
          </a:xfrm>
        </p:spPr>
        <p:txBody>
          <a:bodyPr/>
          <a:lstStyle/>
          <a:p>
            <a:r>
              <a:rPr lang="en-US" dirty="0"/>
              <a:t>DSE5002 PROJECT 1 | OVERVIEW OF COMMON DATA SCIENCE RO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7A5BDF-10D8-8733-DADA-D9C46D000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699" y="453306"/>
            <a:ext cx="11642268" cy="785580"/>
          </a:xfrm>
        </p:spPr>
        <p:txBody>
          <a:bodyPr vert="horz"/>
          <a:lstStyle/>
          <a:p>
            <a:r>
              <a:rPr lang="en-US" dirty="0"/>
              <a:t>Knowing the key roles in data science helps us identify which job titles to prioritize for the first hire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F750A03-3F35-60A3-82B8-2680356BB2B5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B79511-0CC1-69B8-A2A6-D7EE6B9ED9DF}"/>
              </a:ext>
            </a:extLst>
          </p:cNvPr>
          <p:cNvSpPr/>
          <p:nvPr/>
        </p:nvSpPr>
        <p:spPr>
          <a:xfrm>
            <a:off x="7880350" y="1431626"/>
            <a:ext cx="3895038" cy="49730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465D9CA-6AF4-898A-9760-B0241DD5C1DD}"/>
              </a:ext>
            </a:extLst>
          </p:cNvPr>
          <p:cNvCxnSpPr>
            <a:cxnSpLocks/>
          </p:cNvCxnSpPr>
          <p:nvPr/>
        </p:nvCxnSpPr>
        <p:spPr>
          <a:xfrm>
            <a:off x="8064500" y="1825625"/>
            <a:ext cx="36560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D9E6D2F-E9D3-18F8-C5A1-1DFB10FC62A8}"/>
              </a:ext>
            </a:extLst>
          </p:cNvPr>
          <p:cNvSpPr txBox="1"/>
          <p:nvPr/>
        </p:nvSpPr>
        <p:spPr>
          <a:xfrm>
            <a:off x="8009624" y="1517650"/>
            <a:ext cx="2628213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Key Roles and Descriptions</a:t>
            </a:r>
            <a:r>
              <a:rPr lang="en-US" sz="1400" b="1" baseline="30000" dirty="0"/>
              <a:t>2</a:t>
            </a:r>
            <a:endParaRPr lang="en-US" sz="1400" b="1" dirty="0"/>
          </a:p>
        </p:txBody>
      </p:sp>
      <p:graphicFrame>
        <p:nvGraphicFramePr>
          <p:cNvPr id="356" name="Chart 355">
            <a:extLst>
              <a:ext uri="{FF2B5EF4-FFF2-40B4-BE49-F238E27FC236}">
                <a16:creationId xmlns:a16="http://schemas.microsoft.com/office/drawing/2014/main" id="{D5EE1B4B-82C2-80FD-95C0-07EA6F94BD0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9211912"/>
              </p:ext>
            </p:extLst>
          </p:nvPr>
        </p:nvGraphicFramePr>
        <p:xfrm>
          <a:off x="184150" y="3309938"/>
          <a:ext cx="307022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10" name="Rectangle 109">
            <a:extLst>
              <a:ext uri="{FF2B5EF4-FFF2-40B4-BE49-F238E27FC236}">
                <a16:creationId xmlns:a16="http://schemas.microsoft.com/office/drawing/2014/main" id="{5A039BE4-B19B-238D-E78E-A2E7FFDD4F8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30263" y="6300788"/>
            <a:ext cx="323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B18463-4F07-4E35-931B-F88BCF56D023}" type="datetime'''''''''''''''''''''2''''02''''''''''''''''''0'''''''''">
              <a:rPr lang="en-US" altLang="en-US" sz="1200" smtClean="0">
                <a:solidFill>
                  <a:schemeClr val="tx1"/>
                </a:solidFill>
              </a:rPr>
              <a:pPr/>
              <a:t>2020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0FDB2750-3C49-C316-DBFE-30F8407DE2E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282825" y="6300788"/>
            <a:ext cx="323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9E13C9-FE70-4E58-9A0F-71E0B516ED5A}" type="datetime'''''''''''''''''''2''0''''''''''''''''''2''2'''''''''''''''''">
              <a:rPr lang="en-US" altLang="en-US" sz="1200" smtClean="0">
                <a:solidFill>
                  <a:schemeClr val="tx1"/>
                </a:solidFill>
              </a:rPr>
              <a:pPr/>
              <a:t>2022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6151FCB7-6D82-3937-A3FD-154D041A31F7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984250" y="3886200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880793-A46F-47E1-9C3A-FC3C8F730A6D}" type="datetime'''''''''''''''''''''''1''''''''''''''''3''''''''5'''''''''''">
              <a:rPr lang="en-US" altLang="en-US" sz="1400" smtClean="0">
                <a:solidFill>
                  <a:schemeClr val="tx1"/>
                </a:solidFill>
              </a:rPr>
              <a:pPr/>
              <a:t>13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5E7FC4DF-C099-248F-1894-7F2CF7AE7B9B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436813" y="369093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EB07992-AED8-4F06-9007-2C54479399F8}" type="datetime'''''''''''''14''''''''''''''''''''''''''''''''''''''''''7'''">
              <a:rPr lang="en-US" altLang="en-US" sz="1400" smtClean="0">
                <a:solidFill>
                  <a:schemeClr val="tx1"/>
                </a:solidFill>
              </a:rPr>
              <a:pPr/>
              <a:t>147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DB0CEA52-5329-8D92-2952-435B0524E8AD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77825" y="3175000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835E44-7827-49AE-9BA4-81E50BC53BD7}" type="datetime'''''''''''''''1''''''''''''''''7''''''''''''''''''''''9'''''">
              <a:rPr lang="en-US" altLang="en-US" sz="1400" smtClean="0">
                <a:solidFill>
                  <a:schemeClr val="tx1"/>
                </a:solidFill>
              </a:rPr>
              <a:pPr/>
              <a:t>179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A7F87DB9-AF87-FAF6-E9D9-CE7AB124CEBD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830388" y="324167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44A740C-B5ED-4B5D-93DB-FA16C3B42E8B}" type="datetime'''''1''''''''''''''''''''''''''''''''7''''5'''''''''''''">
              <a:rPr lang="en-US" altLang="en-US" sz="1400" smtClean="0">
                <a:solidFill>
                  <a:schemeClr val="tx1"/>
                </a:solidFill>
              </a:rPr>
              <a:pPr/>
              <a:t>17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62AC3C11-8C4E-D8DC-5A07-85CF2CD988A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681038" y="338137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CE2162-A23F-4E65-AD4B-290351832374}" type="datetime'''''''''''''''''''1''''''''''''6''''''''''''''''''''6'''">
              <a:rPr lang="en-US" altLang="en-US" sz="1400" smtClean="0">
                <a:solidFill>
                  <a:schemeClr val="tx1"/>
                </a:solidFill>
              </a:rPr>
              <a:pPr/>
              <a:t>166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DE330267-26E5-BF4C-1880-FC343F9855E3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133600" y="352742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B2ABBD-6308-4C7F-8EB7-367CCA445ECC}" type="datetime'''''''''''''''''''1''''''''''5''7'''''''''''''''''''''''">
              <a:rPr lang="en-US" altLang="en-US" sz="1400" smtClean="0">
                <a:solidFill>
                  <a:schemeClr val="tx1"/>
                </a:solidFill>
              </a:rPr>
              <a:pPr/>
              <a:t>157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68D7F95A-11B9-F9D3-B82E-4CF9572CA51A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330325" y="471487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C6770B4-7D26-4F9C-AE91-30EA6C3D7B02}" type="datetime'''''''''''''''''''''''''''''''''''8''3'''''''''''''">
              <a:rPr lang="en-US" altLang="en-US" sz="1400" smtClean="0">
                <a:solidFill>
                  <a:schemeClr val="tx1"/>
                </a:solidFill>
              </a:rPr>
              <a:pPr/>
              <a:t>83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D94DC5AD-E4E9-0E23-9C6C-99F9E0D2DD80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738438" y="423862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46695F8-511F-4A70-B943-EC767D7291C5}" type="datetime'''''''1''1''''''''''''''''''''''''3'''''''''''''''''''''">
              <a:rPr lang="en-US" altLang="en-US" sz="1400" smtClean="0">
                <a:solidFill>
                  <a:schemeClr val="tx1"/>
                </a:solidFill>
              </a:rPr>
              <a:pPr/>
              <a:t>113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20E21A3-871E-A8C7-4960-44141FCFCEE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318125" y="1976438"/>
            <a:ext cx="214313" cy="160338"/>
          </a:xfrm>
          <a:prstGeom prst="rect">
            <a:avLst/>
          </a:prstGeom>
          <a:solidFill>
            <a:srgbClr val="C3CFE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B2B42245-A4AE-D9D6-F975-2D00F004246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060575" y="1976438"/>
            <a:ext cx="214313" cy="160338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A3A31776-5553-F23C-C2F4-8E23713B0B0D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110038" y="1976438"/>
            <a:ext cx="214313" cy="160338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1C4D6186-C78D-26BF-EC5E-9D8598ED786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551613" y="1976438"/>
            <a:ext cx="214313" cy="160338"/>
          </a:xfrm>
          <a:prstGeom prst="rect">
            <a:avLst/>
          </a:prstGeom>
          <a:solidFill>
            <a:srgbClr val="D6D7D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7EA2D17-E561-5CB2-CA0B-92D49BCE3FC9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583238" y="1971675"/>
            <a:ext cx="8667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FCAB84B-F566-4BB0-8899-C22E232F3AA7}" type="datetime'''D''''''''at''''a'' En''''g''''''''''''i''n''''''''ee''''r'">
              <a:rPr lang="en-US" altLang="en-US" sz="1200" smtClean="0">
                <a:solidFill>
                  <a:schemeClr val="tx1"/>
                </a:solidFill>
              </a:rPr>
              <a:pPr/>
              <a:t>Data Engineer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0FA9610E-A457-1A9E-2DE1-1EB969E24A7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325688" y="1971675"/>
            <a:ext cx="16827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6758DAA-160A-4043-A142-EE78898AAF70}" type="datetime'Mac''''''''''h''''in''''''''e L''ea''rn''''ing E''n''gine''er'">
              <a:rPr lang="en-US" altLang="en-US" sz="1200" smtClean="0">
                <a:solidFill>
                  <a:schemeClr val="tx1"/>
                </a:solidFill>
              </a:rPr>
              <a:pPr/>
              <a:t>Machine Learning Engineer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A0D5C78C-3EE2-FC5B-89CF-951B6AE26B4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375150" y="1971675"/>
            <a:ext cx="8413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62E2E11-AFD8-41A7-8D09-05BD67595500}" type="datetime'D''a''''''''''''''t''''a ''''Sc''''''i''''''enti''s''t'''''''">
              <a:rPr lang="en-US" altLang="en-US" sz="1200" smtClean="0">
                <a:solidFill>
                  <a:schemeClr val="tx1"/>
                </a:solidFill>
              </a:rPr>
              <a:pPr/>
              <a:t>Data Scientist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E24B816C-49EF-6299-6DAD-99B21D4F9D8B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816725" y="1971675"/>
            <a:ext cx="7747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9B629F8-FC6B-4514-96C7-08BE1A708B2F}" type="datetime'''''''D''a''''t''''a'' ''''''''An''a''l''''y''''s''t'''''">
              <a:rPr lang="en-US" altLang="en-US" sz="1200" smtClean="0">
                <a:solidFill>
                  <a:schemeClr val="tx1"/>
                </a:solidFill>
              </a:rPr>
              <a:pPr/>
              <a:t>Data Analyst</a:t>
            </a:fld>
            <a:endParaRPr lang="en-US" sz="1200" dirty="0">
              <a:solidFill>
                <a:schemeClr val="tx1"/>
              </a:solidFill>
            </a:endParaRPr>
          </a:p>
        </p:txBody>
      </p:sp>
      <p:graphicFrame>
        <p:nvGraphicFramePr>
          <p:cNvPr id="358" name="Chart 357">
            <a:extLst>
              <a:ext uri="{FF2B5EF4-FFF2-40B4-BE49-F238E27FC236}">
                <a16:creationId xmlns:a16="http://schemas.microsoft.com/office/drawing/2014/main" id="{1737C4FC-0919-ED8F-2C14-0906B744BF59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335595078"/>
              </p:ext>
            </p:extLst>
          </p:nvPr>
        </p:nvGraphicFramePr>
        <p:xfrm>
          <a:off x="4210050" y="3309938"/>
          <a:ext cx="311785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35" name="Rectangle 134">
            <a:extLst>
              <a:ext uri="{FF2B5EF4-FFF2-40B4-BE49-F238E27FC236}">
                <a16:creationId xmlns:a16="http://schemas.microsoft.com/office/drawing/2014/main" id="{5E93CC41-E495-87CD-3C93-DDB71C03B18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4867275" y="6300788"/>
            <a:ext cx="323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9909030-CC91-4B0F-9F7A-172C219D9B87}" type="datetime'''''''''''''''20''''''''''''''''''''''''''''''''20'''''''">
              <a:rPr lang="en-US" altLang="en-US" sz="1200" smtClean="0">
                <a:solidFill>
                  <a:schemeClr val="tx1"/>
                </a:solidFill>
              </a:rPr>
              <a:pPr/>
              <a:t>2020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398725C-EFDC-436F-1E1C-320907BE175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343650" y="6300788"/>
            <a:ext cx="323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08EB25-0DA9-4376-9A4F-910D75D85846}" type="datetime'2''''''''''0''''''''''''''''''2''''''''2'''''''''''''''''">
              <a:rPr lang="en-US" altLang="en-US" sz="1200" smtClean="0">
                <a:solidFill>
                  <a:schemeClr val="tx1"/>
                </a:solidFill>
              </a:rPr>
              <a:pPr/>
              <a:t>2022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A80E509F-B0A2-1F81-6911-F1BCE8869746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6237288" y="486092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6E230A-5545-4E67-8E9B-4D8F18E4A00B}" type="datetime'''''''''''''''''''''''''''''''''''''7''''''''''''4'''">
              <a:rPr lang="en-US" altLang="en-US" sz="1400" smtClean="0">
                <a:solidFill>
                  <a:schemeClr val="tx1"/>
                </a:solidFill>
              </a:rPr>
              <a:pPr/>
              <a:t>74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102536FE-B144-B7B0-D718-FC26165F5775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4452938" y="532447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E8AA79F-5C1E-4E79-9127-B974AD7D0270}" type="datetime'''''4''4''''''''''''''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6842D33F-C2D4-CD82-F342-ACC46329DD58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760913" y="5138738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1D230A-1FAB-422B-860C-E5824D7F59C3}" type="datetime'''''''5''''''''6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6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3A636C8B-C469-BA7F-3A2C-173D1B4FDB1F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067300" y="490537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6E6234F-8D2C-4F32-86BE-9879A9EE09DD}" type="datetime'''''''''''''''''''''''7''''''''1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1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972F1B68-C3DF-044D-AFB7-437EAAA59327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375275" y="574992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2EAB5B-76CA-45E5-84C3-AA4EFD35BE10}" type="datetime'''''''''''''''''''''1''''''''''''''''8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6D544A9E-03C2-E76C-1129-C92B8426B500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5929313" y="469741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99DC5A-652D-42B9-8FEB-5F4A2DFB4122}" type="datetime'''8''''''''''''''''4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4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25910B48-6B5D-1B95-4BF1-1B0CA1D7D1A6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6543675" y="4846638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05FC9EB-F431-446C-B182-59B95FD03AFD}" type="datetime'''''''''''''''''''''''''''7''''''''''''4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4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4D6FEB52-5DA0-921C-1A8E-D007B3AC0654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6851650" y="505936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3EE7604-E131-4E0F-B32D-954209C3C602}" type="datetime'''''''''''''6''''''''''1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1</a:t>
            </a:fld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B288B7D9-2C37-F491-5D2D-F3EFC36A5055}"/>
              </a:ext>
            </a:extLst>
          </p:cNvPr>
          <p:cNvCxnSpPr>
            <a:cxnSpLocks/>
          </p:cNvCxnSpPr>
          <p:nvPr/>
        </p:nvCxnSpPr>
        <p:spPr>
          <a:xfrm>
            <a:off x="276912" y="1825625"/>
            <a:ext cx="73748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DE8F6BF3-C5C8-C36C-2FA8-567C946F4BA1}"/>
              </a:ext>
            </a:extLst>
          </p:cNvPr>
          <p:cNvSpPr txBox="1"/>
          <p:nvPr/>
        </p:nvSpPr>
        <p:spPr>
          <a:xfrm>
            <a:off x="276911" y="1517650"/>
            <a:ext cx="7374837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On and offshore data and analytics salaries, </a:t>
            </a:r>
            <a:r>
              <a:rPr lang="en-US" sz="1400" dirty="0"/>
              <a:t>by job title for SMBs</a:t>
            </a:r>
            <a:r>
              <a:rPr lang="en-US" sz="1400" baseline="30000" dirty="0"/>
              <a:t>1</a:t>
            </a:r>
            <a:r>
              <a:rPr lang="en-US" sz="1400" dirty="0"/>
              <a:t>, 2020-2022, US$000s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E8986118-981E-C2C9-57CA-FC64899A25ED}"/>
              </a:ext>
            </a:extLst>
          </p:cNvPr>
          <p:cNvSpPr txBox="1"/>
          <p:nvPr/>
        </p:nvSpPr>
        <p:spPr>
          <a:xfrm>
            <a:off x="8053043" y="1855809"/>
            <a:ext cx="3656013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/>
              <a:t>Data Analyst:</a:t>
            </a:r>
            <a:r>
              <a:rPr lang="en-US" sz="1200" dirty="0"/>
              <a:t> Gathers, cleans, and analyzes data to answer business questions, presenting results in reports or dashboards</a:t>
            </a:r>
          </a:p>
          <a:p>
            <a:pPr>
              <a:spcAft>
                <a:spcPts val="600"/>
              </a:spcAft>
            </a:pPr>
            <a:r>
              <a:rPr lang="en-US" sz="1200" b="1" dirty="0"/>
              <a:t>Data Engineer:</a:t>
            </a:r>
            <a:r>
              <a:rPr lang="en-US" sz="1200" dirty="0"/>
              <a:t> Builds and maintains databases and large-scale processing systems; primarily responsible for data integrity</a:t>
            </a:r>
          </a:p>
          <a:p>
            <a:pPr>
              <a:spcAft>
                <a:spcPts val="600"/>
              </a:spcAft>
            </a:pPr>
            <a:r>
              <a:rPr lang="en-US" sz="1200" b="1" dirty="0"/>
              <a:t>Data Scientist: </a:t>
            </a:r>
            <a:r>
              <a:rPr lang="en-US" sz="1200" dirty="0"/>
              <a:t>Performs descriptive statistics and analysis to develop insights, build predictive models and solve a business need</a:t>
            </a:r>
          </a:p>
          <a:p>
            <a:pPr>
              <a:spcAft>
                <a:spcPts val="600"/>
              </a:spcAft>
            </a:pPr>
            <a:r>
              <a:rPr lang="en-US" sz="1200" b="1" dirty="0"/>
              <a:t>Machine Learning Engineer: </a:t>
            </a:r>
            <a:r>
              <a:rPr lang="en-US" sz="1200" dirty="0"/>
              <a:t>Creates software to deploy and maintain machine learning models that enable computers to utilize company data for generating insights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F6726AC6-7AC8-CEDA-977A-F8BA87A28F21}"/>
              </a:ext>
            </a:extLst>
          </p:cNvPr>
          <p:cNvSpPr txBox="1"/>
          <p:nvPr/>
        </p:nvSpPr>
        <p:spPr>
          <a:xfrm>
            <a:off x="218439" y="6504584"/>
            <a:ext cx="362013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1</a:t>
            </a:r>
            <a:r>
              <a:rPr lang="en-US" sz="900" b="1" dirty="0"/>
              <a:t>. </a:t>
            </a:r>
            <a:r>
              <a:rPr lang="en-US" sz="900" dirty="0"/>
              <a:t>Small and medium-sized businesses </a:t>
            </a:r>
            <a:r>
              <a:rPr lang="en-US" sz="900" b="1" dirty="0"/>
              <a:t>2. </a:t>
            </a:r>
            <a:r>
              <a:rPr lang="en-US" sz="900" dirty="0"/>
              <a:t>DataCamp, Coursera 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799912D5-2EFF-BC60-8CCA-F4214179BF0D}"/>
              </a:ext>
            </a:extLst>
          </p:cNvPr>
          <p:cNvSpPr txBox="1"/>
          <p:nvPr/>
        </p:nvSpPr>
        <p:spPr>
          <a:xfrm>
            <a:off x="276911" y="2609056"/>
            <a:ext cx="17836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Onshore (US) Roles</a:t>
            </a:r>
            <a:endParaRPr lang="en-US" sz="1400" u="sng" dirty="0"/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DBCE5770-2A36-B900-4B3E-E8FDF5CA2189}"/>
              </a:ext>
            </a:extLst>
          </p:cNvPr>
          <p:cNvSpPr txBox="1"/>
          <p:nvPr/>
        </p:nvSpPr>
        <p:spPr>
          <a:xfrm>
            <a:off x="4324350" y="2609056"/>
            <a:ext cx="27590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Offshore Roles (Global Average)</a:t>
            </a:r>
            <a:endParaRPr lang="en-US" sz="1400" u="sng" dirty="0"/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1DA08B57-BA2A-D4C2-58CF-9E49A79C79CC}"/>
              </a:ext>
            </a:extLst>
          </p:cNvPr>
          <p:cNvSpPr txBox="1"/>
          <p:nvPr/>
        </p:nvSpPr>
        <p:spPr>
          <a:xfrm>
            <a:off x="3268663" y="3801270"/>
            <a:ext cx="647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CAGR</a:t>
            </a:r>
            <a:endParaRPr lang="en-US" sz="1400" u="sng" dirty="0"/>
          </a:p>
        </p:txBody>
      </p: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F3BC2112-15F4-C494-6A15-31F3B44D9993}"/>
              </a:ext>
            </a:extLst>
          </p:cNvPr>
          <p:cNvGrpSpPr/>
          <p:nvPr/>
        </p:nvGrpSpPr>
        <p:grpSpPr>
          <a:xfrm>
            <a:off x="3349624" y="5078254"/>
            <a:ext cx="431801" cy="246221"/>
            <a:chOff x="3349624" y="5078254"/>
            <a:chExt cx="431801" cy="246221"/>
          </a:xfrm>
        </p:grpSpPr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D946A5AB-CF02-F54B-939D-AE0F343F8940}"/>
                </a:ext>
              </a:extLst>
            </p:cNvPr>
            <p:cNvSpPr/>
            <p:nvPr/>
          </p:nvSpPr>
          <p:spPr>
            <a:xfrm>
              <a:off x="3349624" y="5078254"/>
              <a:ext cx="431801" cy="246221"/>
            </a:xfrm>
            <a:prstGeom prst="ellipse">
              <a:avLst/>
            </a:prstGeom>
            <a:solidFill>
              <a:srgbClr val="D6D7D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0B63FE24-F8C3-DD67-EBD7-F092B4544D17}"/>
                </a:ext>
              </a:extLst>
            </p:cNvPr>
            <p:cNvSpPr txBox="1"/>
            <p:nvPr/>
          </p:nvSpPr>
          <p:spPr>
            <a:xfrm>
              <a:off x="3349624" y="5085948"/>
              <a:ext cx="431801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17%</a:t>
              </a:r>
              <a:endParaRPr lang="en-US" sz="900" dirty="0"/>
            </a:p>
          </p:txBody>
        </p:sp>
      </p:grpSp>
      <p:grpSp>
        <p:nvGrpSpPr>
          <p:cNvPr id="322" name="Group 321">
            <a:extLst>
              <a:ext uri="{FF2B5EF4-FFF2-40B4-BE49-F238E27FC236}">
                <a16:creationId xmlns:a16="http://schemas.microsoft.com/office/drawing/2014/main" id="{36CFFD23-9EEF-AB9D-5C24-480B0EC119AC}"/>
              </a:ext>
            </a:extLst>
          </p:cNvPr>
          <p:cNvGrpSpPr/>
          <p:nvPr/>
        </p:nvGrpSpPr>
        <p:grpSpPr>
          <a:xfrm>
            <a:off x="3340100" y="4760851"/>
            <a:ext cx="431801" cy="246221"/>
            <a:chOff x="3340100" y="4760851"/>
            <a:chExt cx="431801" cy="246221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B53801E3-1FF4-ECB0-B557-A97F5D695722}"/>
                </a:ext>
              </a:extLst>
            </p:cNvPr>
            <p:cNvSpPr/>
            <p:nvPr/>
          </p:nvSpPr>
          <p:spPr>
            <a:xfrm>
              <a:off x="3340100" y="4760851"/>
              <a:ext cx="431801" cy="246221"/>
            </a:xfrm>
            <a:prstGeom prst="ellipse">
              <a:avLst/>
            </a:prstGeom>
            <a:solidFill>
              <a:srgbClr val="C3CFE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8" name="TextBox 317">
              <a:extLst>
                <a:ext uri="{FF2B5EF4-FFF2-40B4-BE49-F238E27FC236}">
                  <a16:creationId xmlns:a16="http://schemas.microsoft.com/office/drawing/2014/main" id="{CF46F4E4-1492-D46F-9FAC-67F74C5B5754}"/>
                </a:ext>
              </a:extLst>
            </p:cNvPr>
            <p:cNvSpPr txBox="1"/>
            <p:nvPr/>
          </p:nvSpPr>
          <p:spPr>
            <a:xfrm>
              <a:off x="3349624" y="4768545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4%</a:t>
              </a:r>
              <a:endParaRPr lang="en-US" sz="900" dirty="0"/>
            </a:p>
          </p:txBody>
        </p:sp>
      </p:grpSp>
      <p:grpSp>
        <p:nvGrpSpPr>
          <p:cNvPr id="323" name="Group 322">
            <a:extLst>
              <a:ext uri="{FF2B5EF4-FFF2-40B4-BE49-F238E27FC236}">
                <a16:creationId xmlns:a16="http://schemas.microsoft.com/office/drawing/2014/main" id="{3857E3E9-C970-C809-4C08-8812FF43AB49}"/>
              </a:ext>
            </a:extLst>
          </p:cNvPr>
          <p:cNvGrpSpPr/>
          <p:nvPr/>
        </p:nvGrpSpPr>
        <p:grpSpPr>
          <a:xfrm>
            <a:off x="3340100" y="4468462"/>
            <a:ext cx="431801" cy="246221"/>
            <a:chOff x="3340100" y="4468462"/>
            <a:chExt cx="431801" cy="246221"/>
          </a:xfrm>
        </p:grpSpPr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08FE36BF-96B5-7FE8-1917-6FD8D63CFE7F}"/>
                </a:ext>
              </a:extLst>
            </p:cNvPr>
            <p:cNvSpPr/>
            <p:nvPr/>
          </p:nvSpPr>
          <p:spPr>
            <a:xfrm>
              <a:off x="3340100" y="4468462"/>
              <a:ext cx="431801" cy="246221"/>
            </a:xfrm>
            <a:prstGeom prst="ellipse">
              <a:avLst/>
            </a:prstGeom>
            <a:solidFill>
              <a:srgbClr val="6F8DB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54F0E296-9047-EB59-8846-7744D5D23C34}"/>
                </a:ext>
              </a:extLst>
            </p:cNvPr>
            <p:cNvSpPr txBox="1"/>
            <p:nvPr/>
          </p:nvSpPr>
          <p:spPr>
            <a:xfrm>
              <a:off x="3349624" y="4476156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-3%</a:t>
              </a:r>
              <a:endParaRPr lang="en-US" sz="900" dirty="0"/>
            </a:p>
          </p:txBody>
        </p:sp>
      </p:grp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F98D1BEE-318E-5A0B-9647-89C20D7AAE28}"/>
              </a:ext>
            </a:extLst>
          </p:cNvPr>
          <p:cNvGrpSpPr/>
          <p:nvPr/>
        </p:nvGrpSpPr>
        <p:grpSpPr>
          <a:xfrm>
            <a:off x="3340100" y="4145412"/>
            <a:ext cx="431801" cy="246221"/>
            <a:chOff x="3340100" y="4145412"/>
            <a:chExt cx="431801" cy="246221"/>
          </a:xfrm>
        </p:grpSpPr>
        <p:sp>
          <p:nvSpPr>
            <p:cNvPr id="309" name="Oval 308">
              <a:extLst>
                <a:ext uri="{FF2B5EF4-FFF2-40B4-BE49-F238E27FC236}">
                  <a16:creationId xmlns:a16="http://schemas.microsoft.com/office/drawing/2014/main" id="{D7BEF650-C514-8BE0-5140-DC16484024B8}"/>
                </a:ext>
              </a:extLst>
            </p:cNvPr>
            <p:cNvSpPr/>
            <p:nvPr/>
          </p:nvSpPr>
          <p:spPr>
            <a:xfrm>
              <a:off x="3340100" y="4145412"/>
              <a:ext cx="431801" cy="246221"/>
            </a:xfrm>
            <a:prstGeom prst="ellipse">
              <a:avLst/>
            </a:prstGeom>
            <a:solidFill>
              <a:srgbClr val="364D6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36F51DFF-62FE-9912-B2CA-A8E650B72505}"/>
                </a:ext>
              </a:extLst>
            </p:cNvPr>
            <p:cNvSpPr txBox="1"/>
            <p:nvPr/>
          </p:nvSpPr>
          <p:spPr>
            <a:xfrm>
              <a:off x="3349624" y="4153106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-1%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325" name="TextBox 324">
            <a:extLst>
              <a:ext uri="{FF2B5EF4-FFF2-40B4-BE49-F238E27FC236}">
                <a16:creationId xmlns:a16="http://schemas.microsoft.com/office/drawing/2014/main" id="{2D593ED2-706D-70A7-217A-A6DE93B57FB1}"/>
              </a:ext>
            </a:extLst>
          </p:cNvPr>
          <p:cNvSpPr txBox="1"/>
          <p:nvPr/>
        </p:nvSpPr>
        <p:spPr>
          <a:xfrm>
            <a:off x="7195344" y="3801270"/>
            <a:ext cx="647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CAGR</a:t>
            </a:r>
            <a:endParaRPr lang="en-US" sz="1400" u="sng" dirty="0"/>
          </a:p>
        </p:txBody>
      </p:sp>
      <p:grpSp>
        <p:nvGrpSpPr>
          <p:cNvPr id="326" name="Group 325">
            <a:extLst>
              <a:ext uri="{FF2B5EF4-FFF2-40B4-BE49-F238E27FC236}">
                <a16:creationId xmlns:a16="http://schemas.microsoft.com/office/drawing/2014/main" id="{CEC5DC52-253B-7658-B226-634D8789CD84}"/>
              </a:ext>
            </a:extLst>
          </p:cNvPr>
          <p:cNvGrpSpPr/>
          <p:nvPr/>
        </p:nvGrpSpPr>
        <p:grpSpPr>
          <a:xfrm>
            <a:off x="7276305" y="5078254"/>
            <a:ext cx="431801" cy="246221"/>
            <a:chOff x="3349624" y="5078254"/>
            <a:chExt cx="431801" cy="246221"/>
          </a:xfrm>
        </p:grpSpPr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854FC777-F1F6-3B31-D0BB-8728F2044F33}"/>
                </a:ext>
              </a:extLst>
            </p:cNvPr>
            <p:cNvSpPr/>
            <p:nvPr/>
          </p:nvSpPr>
          <p:spPr>
            <a:xfrm>
              <a:off x="3349624" y="5078254"/>
              <a:ext cx="431801" cy="246221"/>
            </a:xfrm>
            <a:prstGeom prst="ellipse">
              <a:avLst/>
            </a:prstGeom>
            <a:solidFill>
              <a:srgbClr val="D6D7D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3012AEFC-81ED-C562-DDA4-A3BB77B23966}"/>
                </a:ext>
              </a:extLst>
            </p:cNvPr>
            <p:cNvSpPr txBox="1"/>
            <p:nvPr/>
          </p:nvSpPr>
          <p:spPr>
            <a:xfrm>
              <a:off x="3349624" y="5085948"/>
              <a:ext cx="431801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86%</a:t>
              </a:r>
              <a:endParaRPr lang="en-US" sz="900" dirty="0"/>
            </a:p>
          </p:txBody>
        </p:sp>
      </p:grpSp>
      <p:grpSp>
        <p:nvGrpSpPr>
          <p:cNvPr id="329" name="Group 328">
            <a:extLst>
              <a:ext uri="{FF2B5EF4-FFF2-40B4-BE49-F238E27FC236}">
                <a16:creationId xmlns:a16="http://schemas.microsoft.com/office/drawing/2014/main" id="{B9AC21AF-7F6C-BDAB-4F55-93818B20A4BB}"/>
              </a:ext>
            </a:extLst>
          </p:cNvPr>
          <p:cNvGrpSpPr/>
          <p:nvPr/>
        </p:nvGrpSpPr>
        <p:grpSpPr>
          <a:xfrm>
            <a:off x="7266781" y="4760851"/>
            <a:ext cx="431801" cy="246221"/>
            <a:chOff x="3340100" y="4760851"/>
            <a:chExt cx="431801" cy="246221"/>
          </a:xfrm>
        </p:grpSpPr>
        <p:sp>
          <p:nvSpPr>
            <p:cNvPr id="330" name="Oval 329">
              <a:extLst>
                <a:ext uri="{FF2B5EF4-FFF2-40B4-BE49-F238E27FC236}">
                  <a16:creationId xmlns:a16="http://schemas.microsoft.com/office/drawing/2014/main" id="{633FCAD9-FE49-169E-E856-F8740EC961B7}"/>
                </a:ext>
              </a:extLst>
            </p:cNvPr>
            <p:cNvSpPr/>
            <p:nvPr/>
          </p:nvSpPr>
          <p:spPr>
            <a:xfrm>
              <a:off x="3340100" y="4760851"/>
              <a:ext cx="431801" cy="246221"/>
            </a:xfrm>
            <a:prstGeom prst="ellipse">
              <a:avLst/>
            </a:prstGeom>
            <a:solidFill>
              <a:srgbClr val="C3CFE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31" name="TextBox 330">
              <a:extLst>
                <a:ext uri="{FF2B5EF4-FFF2-40B4-BE49-F238E27FC236}">
                  <a16:creationId xmlns:a16="http://schemas.microsoft.com/office/drawing/2014/main" id="{6AF146C4-69A1-97E6-EC10-95617DC0763C}"/>
                </a:ext>
              </a:extLst>
            </p:cNvPr>
            <p:cNvSpPr txBox="1"/>
            <p:nvPr/>
          </p:nvSpPr>
          <p:spPr>
            <a:xfrm>
              <a:off x="3349624" y="4768545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3%</a:t>
              </a:r>
              <a:endParaRPr lang="en-US" sz="900" dirty="0"/>
            </a:p>
          </p:txBody>
        </p: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63211C17-9193-6612-19BA-E0686892A67A}"/>
              </a:ext>
            </a:extLst>
          </p:cNvPr>
          <p:cNvGrpSpPr/>
          <p:nvPr/>
        </p:nvGrpSpPr>
        <p:grpSpPr>
          <a:xfrm>
            <a:off x="7266781" y="4468462"/>
            <a:ext cx="431801" cy="246221"/>
            <a:chOff x="3340100" y="4468462"/>
            <a:chExt cx="431801" cy="246221"/>
          </a:xfrm>
        </p:grpSpPr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07359006-22ED-1DDD-4586-A6DCAB710D31}"/>
                </a:ext>
              </a:extLst>
            </p:cNvPr>
            <p:cNvSpPr/>
            <p:nvPr/>
          </p:nvSpPr>
          <p:spPr>
            <a:xfrm>
              <a:off x="3340100" y="4468462"/>
              <a:ext cx="431801" cy="246221"/>
            </a:xfrm>
            <a:prstGeom prst="ellipse">
              <a:avLst/>
            </a:prstGeom>
            <a:solidFill>
              <a:srgbClr val="6F8DB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E7B30CAE-BD59-F4E7-FEE8-E16FB7833B6C}"/>
                </a:ext>
              </a:extLst>
            </p:cNvPr>
            <p:cNvSpPr txBox="1"/>
            <p:nvPr/>
          </p:nvSpPr>
          <p:spPr>
            <a:xfrm>
              <a:off x="3349624" y="4476156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/>
                <a:t>15%</a:t>
              </a:r>
              <a:endParaRPr lang="en-US" sz="900" dirty="0"/>
            </a:p>
          </p:txBody>
        </p:sp>
      </p:grpSp>
      <p:grpSp>
        <p:nvGrpSpPr>
          <p:cNvPr id="335" name="Group 334">
            <a:extLst>
              <a:ext uri="{FF2B5EF4-FFF2-40B4-BE49-F238E27FC236}">
                <a16:creationId xmlns:a16="http://schemas.microsoft.com/office/drawing/2014/main" id="{B4CEFFD6-CFA1-8AFB-9BBC-9DA251436686}"/>
              </a:ext>
            </a:extLst>
          </p:cNvPr>
          <p:cNvGrpSpPr/>
          <p:nvPr/>
        </p:nvGrpSpPr>
        <p:grpSpPr>
          <a:xfrm>
            <a:off x="7266781" y="4145412"/>
            <a:ext cx="431801" cy="246221"/>
            <a:chOff x="3340100" y="4145412"/>
            <a:chExt cx="431801" cy="246221"/>
          </a:xfrm>
        </p:grpSpPr>
        <p:sp>
          <p:nvSpPr>
            <p:cNvPr id="336" name="Oval 335">
              <a:extLst>
                <a:ext uri="{FF2B5EF4-FFF2-40B4-BE49-F238E27FC236}">
                  <a16:creationId xmlns:a16="http://schemas.microsoft.com/office/drawing/2014/main" id="{22FD2032-713D-25E9-A5C7-ADBBA6AAD805}"/>
                </a:ext>
              </a:extLst>
            </p:cNvPr>
            <p:cNvSpPr/>
            <p:nvPr/>
          </p:nvSpPr>
          <p:spPr>
            <a:xfrm>
              <a:off x="3340100" y="4145412"/>
              <a:ext cx="431801" cy="246221"/>
            </a:xfrm>
            <a:prstGeom prst="ellipse">
              <a:avLst/>
            </a:prstGeom>
            <a:solidFill>
              <a:srgbClr val="364D6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5FC2C34C-A3F2-C201-E21B-8FA143C6E11A}"/>
                </a:ext>
              </a:extLst>
            </p:cNvPr>
            <p:cNvSpPr txBox="1"/>
            <p:nvPr/>
          </p:nvSpPr>
          <p:spPr>
            <a:xfrm>
              <a:off x="3349624" y="4153106"/>
              <a:ext cx="412753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37%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341" name="TextBox 340">
            <a:extLst>
              <a:ext uri="{FF2B5EF4-FFF2-40B4-BE49-F238E27FC236}">
                <a16:creationId xmlns:a16="http://schemas.microsoft.com/office/drawing/2014/main" id="{97A2A409-832E-AC23-4BB7-7B21F4ADE6A1}"/>
              </a:ext>
            </a:extLst>
          </p:cNvPr>
          <p:cNvSpPr txBox="1"/>
          <p:nvPr/>
        </p:nvSpPr>
        <p:spPr>
          <a:xfrm>
            <a:off x="8009624" y="4702374"/>
            <a:ext cx="26282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Takeaways</a:t>
            </a: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35E21425-C605-007C-7227-3BEE64EFF7C1}"/>
              </a:ext>
            </a:extLst>
          </p:cNvPr>
          <p:cNvSpPr txBox="1"/>
          <p:nvPr/>
        </p:nvSpPr>
        <p:spPr>
          <a:xfrm>
            <a:off x="8053043" y="4999377"/>
            <a:ext cx="3667470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hile roles in the data ecosystem may sound alike, they have distinct responsibilities that should be considered when hiring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Onshore positions typically pay ~2x more than offshore, though offshore salaries have increased 30-40% p.a. from 2020-2022</a:t>
            </a:r>
          </a:p>
        </p:txBody>
      </p:sp>
    </p:spTree>
    <p:extLst>
      <p:ext uri="{BB962C8B-B14F-4D97-AF65-F5344CB8AC3E}">
        <p14:creationId xmlns:p14="http://schemas.microsoft.com/office/powerpoint/2010/main" val="15486721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46E21C-409E-3D6D-16EF-2DAE514B78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EA42FAB-65BD-F237-2CA8-B2B9F7D8BD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309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04" imgH="405" progId="TCLayout.ActiveDocument.1">
                  <p:embed/>
                </p:oleObj>
              </mc:Choice>
              <mc:Fallback>
                <p:oleObj name="think-cell Slide" r:id="rId29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A42FAB-65BD-F237-2CA8-B2B9F7D8BD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DCE7A56-0655-0F1C-53C0-9A6BBE69D280}"/>
              </a:ext>
            </a:extLst>
          </p:cNvPr>
          <p:cNvCxnSpPr>
            <a:cxnSpLocks/>
          </p:cNvCxnSpPr>
          <p:nvPr/>
        </p:nvCxnSpPr>
        <p:spPr>
          <a:xfrm>
            <a:off x="692150" y="6119060"/>
            <a:ext cx="67071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0DDC413-E254-02EE-525D-EC7AB0AEB4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6698" y="136524"/>
            <a:ext cx="12026902" cy="318932"/>
          </a:xfrm>
        </p:spPr>
        <p:txBody>
          <a:bodyPr/>
          <a:lstStyle/>
          <a:p>
            <a:r>
              <a:rPr lang="en-US" dirty="0"/>
              <a:t>DSE5002 PROJECT 1 | RECOMMEND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72E4D7E-28B6-44C2-B738-3BC0F92BE9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699" y="453306"/>
            <a:ext cx="11642268" cy="705690"/>
          </a:xfrm>
        </p:spPr>
        <p:txBody>
          <a:bodyPr vert="horz"/>
          <a:lstStyle/>
          <a:p>
            <a:r>
              <a:rPr lang="en-US" dirty="0"/>
              <a:t>This report recommends establishing an internal analytics unit with two US-based FTE: a mid-level Data Engineer and a Senior Data Scientist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15DC22D-B70E-0FE6-10D3-47F75D6FCED1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77717E-AA49-652E-F31B-D42CC476288D}"/>
              </a:ext>
            </a:extLst>
          </p:cNvPr>
          <p:cNvSpPr/>
          <p:nvPr/>
        </p:nvSpPr>
        <p:spPr>
          <a:xfrm>
            <a:off x="7880350" y="1349375"/>
            <a:ext cx="3895038" cy="47696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B5BF3B-3099-6D25-8D6F-C16E31D1279A}"/>
              </a:ext>
            </a:extLst>
          </p:cNvPr>
          <p:cNvCxnSpPr>
            <a:cxnSpLocks/>
          </p:cNvCxnSpPr>
          <p:nvPr/>
        </p:nvCxnSpPr>
        <p:spPr>
          <a:xfrm>
            <a:off x="8064500" y="1890713"/>
            <a:ext cx="34702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B3BB85F-304D-048F-FEFE-E20E30114A56}"/>
              </a:ext>
            </a:extLst>
          </p:cNvPr>
          <p:cNvSpPr txBox="1"/>
          <p:nvPr/>
        </p:nvSpPr>
        <p:spPr>
          <a:xfrm>
            <a:off x="8009625" y="1582738"/>
            <a:ext cx="1295332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Rationale</a:t>
            </a:r>
          </a:p>
        </p:txBody>
      </p:sp>
      <p:graphicFrame>
        <p:nvGraphicFramePr>
          <p:cNvPr id="345" name="Chart 344">
            <a:extLst>
              <a:ext uri="{FF2B5EF4-FFF2-40B4-BE49-F238E27FC236}">
                <a16:creationId xmlns:a16="http://schemas.microsoft.com/office/drawing/2014/main" id="{24294B97-E23F-ABE7-4E4C-755AFDAB1D0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425994"/>
              </p:ext>
            </p:extLst>
          </p:nvPr>
        </p:nvGraphicFramePr>
        <p:xfrm>
          <a:off x="692150" y="2651125"/>
          <a:ext cx="32924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2A23C7D-0CDB-FA58-13AE-28DE04A2710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058863" y="5649913"/>
            <a:ext cx="2143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0BBBE66-4A96-41E8-B969-7E9304B355AD}" type="datetime'''''''''''''E''''N'''''''''''''''''''''''">
              <a:rPr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EN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74BC18E6-D651-E7D3-B3AF-8CAE29F825E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43088" y="5649913"/>
            <a:ext cx="2095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1BF4F86-8C10-4EAC-95EC-999084B26AD9}" type="datetime'''''''M''I'''''''''''''''''''''''''''''''''''''''''''">
              <a:rPr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I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1993C4-37D3-EF29-19C8-294E863B0EC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638425" y="5649913"/>
            <a:ext cx="180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0085FA-7D05-4D07-A023-234F757FD226}" type="datetime'''''''S''''''''''''''''''''''''''''''''''''''''''''''''E'''">
              <a:rPr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E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BFBD43-C408-993B-19E6-CDD90DC67D4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416300" y="5649913"/>
            <a:ext cx="192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E45F969-C7E1-4375-A2B0-52E90061A953}" type="datetime'''''''''''''''''E''''''''''''''''''''''''''''''''X'''''">
              <a:rPr lang="en-US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EX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85DC4E3E-648D-545C-D43E-41B041DD7BF8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927225" y="362743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191816C-31EC-4F42-9539-DE8156465DBD}" type="datetime'''''''''''1''''''''''5''''''''''''''0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8C12863B-19F6-55C1-72AA-6CDD74424C69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709863" y="3860800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9442D8B-187A-4685-8440-0EE5F29518BF}" type="datetime'''1''''''''''''''''''3''''''''''''''''''''''''''''''''''0'''''">
              <a:rPr lang="en-US" altLang="en-US" sz="1400" smtClean="0">
                <a:solidFill>
                  <a:schemeClr val="tx1"/>
                </a:solidFill>
              </a:rPr>
              <a:pPr/>
              <a:t>13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8F9ACB5D-4BAE-ABB0-0D06-B04D1B58832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1647825" y="3884613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CB1EB4-378E-45B2-BCBB-8C877F6F9566}" type="datetime'''''''''1''2''''''''''''''''''''8'''''''''''''''''''">
              <a:rPr lang="en-US" altLang="en-US" sz="1400" smtClean="0">
                <a:solidFill>
                  <a:schemeClr val="tx1"/>
                </a:solidFill>
              </a:rPr>
              <a:pPr/>
              <a:t>128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12E4AE2E-5CED-8A9F-C4D9-2009430C7D0A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428875" y="349408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A3311FF-63C4-47BF-9E0D-9FB6E28B9D2C}" type="datetime'1''''6''''''''''''''''''''''''2'''''''''">
              <a:rPr lang="en-US" altLang="en-US" sz="1400" smtClean="0">
                <a:solidFill>
                  <a:schemeClr val="tx1"/>
                </a:solidFill>
              </a:rPr>
              <a:pPr/>
              <a:t>162</a:t>
            </a:fld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41F5C6BC-5A0A-8F53-2164-77C85F9971C4}"/>
              </a:ext>
            </a:extLst>
          </p:cNvPr>
          <p:cNvCxnSpPr>
            <a:cxnSpLocks/>
          </p:cNvCxnSpPr>
          <p:nvPr/>
        </p:nvCxnSpPr>
        <p:spPr>
          <a:xfrm>
            <a:off x="353906" y="1878013"/>
            <a:ext cx="73748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90F351F7-0C3E-D777-3A23-61B0A5979DCA}"/>
              </a:ext>
            </a:extLst>
          </p:cNvPr>
          <p:cNvSpPr txBox="1"/>
          <p:nvPr/>
        </p:nvSpPr>
        <p:spPr>
          <a:xfrm>
            <a:off x="313873" y="1520825"/>
            <a:ext cx="5782127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US Data Scientist and Engineer salaries,</a:t>
            </a:r>
            <a:r>
              <a:rPr lang="en-US" sz="1400" dirty="0"/>
              <a:t> by experience level</a:t>
            </a:r>
            <a:r>
              <a:rPr lang="en-US" sz="1400" baseline="30000" dirty="0"/>
              <a:t>1</a:t>
            </a:r>
            <a:r>
              <a:rPr lang="en-US" sz="1400" dirty="0"/>
              <a:t>, 2022,</a:t>
            </a:r>
            <a:r>
              <a:rPr lang="en-US" sz="1400" b="1" dirty="0"/>
              <a:t> </a:t>
            </a:r>
            <a:r>
              <a:rPr lang="en-US" sz="1400" dirty="0"/>
              <a:t>US$000s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9AA43FF9-3D26-A33A-ABF9-A3C53603871A}"/>
              </a:ext>
            </a:extLst>
          </p:cNvPr>
          <p:cNvSpPr txBox="1"/>
          <p:nvPr/>
        </p:nvSpPr>
        <p:spPr>
          <a:xfrm>
            <a:off x="8064500" y="1992313"/>
            <a:ext cx="347027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he CEO should hire a senior Data Scientist with experience in small to medium-sized companies as a foundational hire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dditionally, a mid-level Data Engineer should be hired to ensure the company’s data is secure, structured and suitable for analysi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Prioritizing local hires, even if they are remote, reduces communication errors from cultural and time zone differences, which helps gain company buy-in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In 2022, U.S. senior Data Scientists earned $130,000 to $165,000, while mid-level Data Engineers earned $125,000 to $130,000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otal costs for building out this function are expected to be between $250,000 and $300,000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E78725-9243-CD9F-E558-E08F50E468B8}"/>
              </a:ext>
            </a:extLst>
          </p:cNvPr>
          <p:cNvSpPr txBox="1"/>
          <p:nvPr/>
        </p:nvSpPr>
        <p:spPr>
          <a:xfrm>
            <a:off x="276912" y="1882775"/>
            <a:ext cx="1295332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Data Scientist</a:t>
            </a:r>
            <a:endParaRPr lang="en-US" sz="1400" u="sng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63383E-1595-1C38-029F-0899D1A63C91}"/>
              </a:ext>
            </a:extLst>
          </p:cNvPr>
          <p:cNvSpPr txBox="1"/>
          <p:nvPr/>
        </p:nvSpPr>
        <p:spPr>
          <a:xfrm>
            <a:off x="4324350" y="1882775"/>
            <a:ext cx="1898649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/>
              <a:t>Data Engineer</a:t>
            </a:r>
            <a:endParaRPr lang="en-US" sz="1400" u="sng" dirty="0"/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09AC38CE-4A4D-33DB-545B-2B752C1174E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235700" y="1585913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1B66A17B-F6DB-8CAF-A849-95D3B7A585A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961188" y="1585913"/>
            <a:ext cx="214313" cy="160338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0BC995C-74C2-2CE9-EFD5-3BB17D745C1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500813" y="1581150"/>
            <a:ext cx="3587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DD8159A-9283-4A25-98C4-840794FF2056}" type="datetime'''''''''''M''''''''''''''''''''''e''''''''''a''n'''">
              <a:rPr lang="en-US" altLang="en-US" sz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Mean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B8955D64-985D-1178-722E-9B8DDDA6525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226300" y="1581150"/>
            <a:ext cx="4730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378BCAC-79EE-4B1A-875E-F196A7D1E346}" type="datetime'''''''''M''''ed''i''''''''''''''''a''''''''n'''''''''">
              <a:rPr lang="en-US" altLang="en-US" sz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Median</a:t>
            </a:fld>
            <a:endParaRPr lang="en-US" sz="1200" dirty="0">
              <a:solidFill>
                <a:schemeClr val="tx1"/>
              </a:solidFill>
            </a:endParaRPr>
          </a:p>
        </p:txBody>
      </p:sp>
      <p:graphicFrame>
        <p:nvGraphicFramePr>
          <p:cNvPr id="346" name="Chart 345">
            <a:extLst>
              <a:ext uri="{FF2B5EF4-FFF2-40B4-BE49-F238E27FC236}">
                <a16:creationId xmlns:a16="http://schemas.microsoft.com/office/drawing/2014/main" id="{F484BBE0-7C2A-A1DE-B84E-A8B31E7C0F8D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28967432"/>
              </p:ext>
            </p:extLst>
          </p:nvPr>
        </p:nvGraphicFramePr>
        <p:xfrm>
          <a:off x="4241800" y="2651125"/>
          <a:ext cx="32924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15" name="Rectangle 214">
            <a:extLst>
              <a:ext uri="{FF2B5EF4-FFF2-40B4-BE49-F238E27FC236}">
                <a16:creationId xmlns:a16="http://schemas.microsoft.com/office/drawing/2014/main" id="{44AAD855-64D2-BBC4-E380-09468DF114A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608513" y="5649913"/>
            <a:ext cx="2143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506DE28-744E-46C7-8274-29659E3CA59A}" type="datetime'''E''''''''''''''''''''''''''''N'''''''''">
              <a:rPr lang="en-US" altLang="en-US" sz="1400" smtClean="0">
                <a:solidFill>
                  <a:schemeClr val="tx1"/>
                </a:solidFill>
              </a:rPr>
              <a:pPr/>
              <a:t>EN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329602AE-BA31-0589-0B13-EB2E749005D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392738" y="5649913"/>
            <a:ext cx="2095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6E63FB-0FEC-4E06-A0B2-E18C64680F17}" type="datetime'''''''''''''''''M''''''''''''''I'''''''''''">
              <a:rPr lang="en-US" altLang="en-US" sz="1400" smtClean="0">
                <a:solidFill>
                  <a:schemeClr val="tx1"/>
                </a:solidFill>
              </a:rPr>
              <a:pPr/>
              <a:t>MI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839A040B-6C81-3033-BA2C-5D3F7B4CD57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188075" y="5649913"/>
            <a:ext cx="180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F1121C9-0F81-4CEC-8FBC-AE76B2E80B1D}" type="datetime'''''''''''''''''''''''''''''''''''''SE'''''''''''''">
              <a:rPr lang="en-US" altLang="en-US" sz="1400" smtClean="0">
                <a:solidFill>
                  <a:schemeClr val="tx1"/>
                </a:solidFill>
              </a:rPr>
              <a:pPr/>
              <a:t>SE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4EB9E3EB-934C-9363-6E5C-CA3E1066024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965950" y="5649913"/>
            <a:ext cx="192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DAE344-1964-4BE1-B018-6B5ECB085A9B}" type="datetime'''''''''''''''''''''''''E''''''''''''X'''''''''''''''">
              <a:rPr lang="en-US" altLang="en-US" sz="1400" smtClean="0">
                <a:solidFill>
                  <a:schemeClr val="tx1"/>
                </a:solidFill>
              </a:rPr>
              <a:pPr/>
              <a:t>EX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29994ECA-9989-92CC-6738-9966D9B73673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459288" y="429736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5027FCA-4D35-4B47-B249-06E28CB09C46}" type="datetime'''''''''''''93''''''''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3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1FA38AB0-D6DC-6E78-2DF9-416A8B65EB66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761163" y="251618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83EEEB-42B3-419E-AAEE-6B8F26E48D06}" type="datetime'''''''''2''''''''''''''''''''''''''4''''''''''''''''''''''6'''">
              <a:rPr lang="en-US" altLang="en-US" sz="1400" smtClean="0">
                <a:solidFill>
                  <a:schemeClr val="tx1"/>
                </a:solidFill>
              </a:rPr>
              <a:pPr/>
              <a:t>246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2D0D9DEB-4D12-3312-68CC-41A2EBEB8A4A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197475" y="387508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74950E-008A-486F-9B29-FBA956FB8B34}" type="datetime'''''''''''''''1''''''''''''''''''''''''''''2''''''''''''''9'''">
              <a:rPr lang="en-US" altLang="en-US" sz="1400" smtClean="0">
                <a:solidFill>
                  <a:schemeClr val="tx1"/>
                </a:solidFill>
              </a:rPr>
              <a:pPr/>
              <a:t>129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8416E7CC-346C-5CAB-6257-58CBB78B50A6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978525" y="3738563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00A5B5A-2F78-4555-987A-1E00783594F2}" type="datetime'''''''''''''''''''''''''''''1''''''''40'''''''''''">
              <a:rPr lang="en-US" altLang="en-US" sz="1400" smtClean="0">
                <a:solidFill>
                  <a:schemeClr val="tx1"/>
                </a:solidFill>
              </a:rPr>
              <a:pPr/>
              <a:t>14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E9C2A287-4DFA-238C-BC83-6C7205D07F7C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4740275" y="429736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3A2CD3-45BF-4FF1-BAC5-354FE66999FB}" type="datetime'''''''''''''''''''''''''''''''''9''''''''3'''''''''">
              <a:rPr lang="en-US" altLang="en-US" sz="1400" smtClean="0">
                <a:solidFill>
                  <a:schemeClr val="tx1"/>
                </a:solidFill>
              </a:rPr>
              <a:pPr/>
              <a:t>93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AA6273B2-B43A-1E19-0CF8-F53249348294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7077075" y="2708275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C687DBA-BACB-4AFD-AF76-8C895BE87686}" type="datetime'''''''''''''''''''''2''''''''''''2''9'''''''''''''''">
              <a:rPr lang="en-US" altLang="en-US" sz="1400" smtClean="0">
                <a:solidFill>
                  <a:schemeClr val="tx1"/>
                </a:solidFill>
              </a:rPr>
              <a:pPr/>
              <a:t>229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7DF745A9-BA37-700C-051E-04AFB939AB2F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5513388" y="3924300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84B29E3-263E-4974-8735-43673EB3D35C}" type="datetime'''''''''''''''''''''''125'''''''''''''''''''''''''''''''''''">
              <a:rPr lang="en-US" altLang="en-US" sz="1400" smtClean="0">
                <a:solidFill>
                  <a:schemeClr val="tx1"/>
                </a:solidFill>
              </a:rPr>
              <a:pPr/>
              <a:t>12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A3DEB2EF-8E00-CEB5-69F7-C03224F6F0E7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6294438" y="3784600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D32032-1928-4BA1-A418-FB3F923C7B13}" type="datetime'''''''''''1''''''''''''''''''3''''''''''''''''''''''''''6'">
              <a:rPr lang="en-US" altLang="en-US" sz="1400" smtClean="0">
                <a:solidFill>
                  <a:schemeClr val="tx1"/>
                </a:solidFill>
              </a:rPr>
              <a:pPr/>
              <a:t>136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6BD9EE72-EDA0-7D79-5CA5-F84C47AC60B8}"/>
              </a:ext>
            </a:extLst>
          </p:cNvPr>
          <p:cNvSpPr txBox="1"/>
          <p:nvPr/>
        </p:nvSpPr>
        <p:spPr>
          <a:xfrm>
            <a:off x="958400" y="5260975"/>
            <a:ext cx="415238" cy="306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NA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51624273-C614-E637-4E17-BE26B4A0F2B8}"/>
              </a:ext>
            </a:extLst>
          </p:cNvPr>
          <p:cNvSpPr txBox="1"/>
          <p:nvPr/>
        </p:nvSpPr>
        <p:spPr>
          <a:xfrm>
            <a:off x="3304725" y="5260975"/>
            <a:ext cx="415238" cy="306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NA</a:t>
            </a:r>
          </a:p>
        </p:txBody>
      </p:sp>
      <p:grpSp>
        <p:nvGrpSpPr>
          <p:cNvPr id="311" name="Group 310">
            <a:extLst>
              <a:ext uri="{FF2B5EF4-FFF2-40B4-BE49-F238E27FC236}">
                <a16:creationId xmlns:a16="http://schemas.microsoft.com/office/drawing/2014/main" id="{6CEF88A4-ECCF-FD27-59E7-2B8D5E186310}"/>
              </a:ext>
            </a:extLst>
          </p:cNvPr>
          <p:cNvGrpSpPr/>
          <p:nvPr/>
        </p:nvGrpSpPr>
        <p:grpSpPr>
          <a:xfrm>
            <a:off x="3124199" y="5909359"/>
            <a:ext cx="2496345" cy="376962"/>
            <a:chOff x="2511769" y="5964306"/>
            <a:chExt cx="2685706" cy="376962"/>
          </a:xfrm>
          <a:solidFill>
            <a:schemeClr val="bg1"/>
          </a:solidFill>
        </p:grpSpPr>
        <p:sp>
          <p:nvSpPr>
            <p:cNvPr id="310" name="Rectangle 309">
              <a:extLst>
                <a:ext uri="{FF2B5EF4-FFF2-40B4-BE49-F238E27FC236}">
                  <a16:creationId xmlns:a16="http://schemas.microsoft.com/office/drawing/2014/main" id="{1E9AD74D-57A9-403F-6E44-00907B832309}"/>
                </a:ext>
              </a:extLst>
            </p:cNvPr>
            <p:cNvSpPr/>
            <p:nvPr/>
          </p:nvSpPr>
          <p:spPr>
            <a:xfrm>
              <a:off x="2511769" y="5964306"/>
              <a:ext cx="2685706" cy="37696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9" name="TextBox 308">
              <a:extLst>
                <a:ext uri="{FF2B5EF4-FFF2-40B4-BE49-F238E27FC236}">
                  <a16:creationId xmlns:a16="http://schemas.microsoft.com/office/drawing/2014/main" id="{8A025C7C-E799-259D-EBE9-E5C82AD1CBD7}"/>
                </a:ext>
              </a:extLst>
            </p:cNvPr>
            <p:cNvSpPr txBox="1"/>
            <p:nvPr/>
          </p:nvSpPr>
          <p:spPr>
            <a:xfrm>
              <a:off x="3047207" y="6011775"/>
              <a:ext cx="1535112" cy="307777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Experience Level</a:t>
              </a:r>
              <a:endParaRPr lang="en-US" sz="1400" dirty="0"/>
            </a:p>
          </p:txBody>
        </p:sp>
      </p:grpSp>
      <p:sp>
        <p:nvSpPr>
          <p:cNvPr id="318" name="TextBox 317">
            <a:extLst>
              <a:ext uri="{FF2B5EF4-FFF2-40B4-BE49-F238E27FC236}">
                <a16:creationId xmlns:a16="http://schemas.microsoft.com/office/drawing/2014/main" id="{BBAF7ABA-6F13-9B6B-F3EA-71D809B575BC}"/>
              </a:ext>
            </a:extLst>
          </p:cNvPr>
          <p:cNvSpPr txBox="1"/>
          <p:nvPr/>
        </p:nvSpPr>
        <p:spPr>
          <a:xfrm>
            <a:off x="276911" y="6480889"/>
            <a:ext cx="114984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1. </a:t>
            </a:r>
            <a:r>
              <a:rPr lang="en-US" sz="1000" dirty="0"/>
              <a:t>EN Entry level, Junior MI Mid-level, Intermediate SE Senior-level, Expert SE Executive Level / Director</a:t>
            </a:r>
            <a:r>
              <a:rPr lang="en-US" sz="1000" b="1" dirty="0"/>
              <a:t> 2. </a:t>
            </a:r>
            <a:r>
              <a:rPr lang="en-US" sz="1000" dirty="0"/>
              <a:t>e.g., an estimated 20% for overhead expenses (e.g., benefits, payroll taxes)  </a:t>
            </a:r>
          </a:p>
        </p:txBody>
      </p: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E0E3F453-33FB-486B-F4F2-F453C11D32AA}"/>
              </a:ext>
            </a:extLst>
          </p:cNvPr>
          <p:cNvGrpSpPr/>
          <p:nvPr/>
        </p:nvGrpSpPr>
        <p:grpSpPr>
          <a:xfrm>
            <a:off x="2680207" y="3146475"/>
            <a:ext cx="237118" cy="276999"/>
            <a:chOff x="106076" y="3284974"/>
            <a:chExt cx="237118" cy="276999"/>
          </a:xfrm>
        </p:grpSpPr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0879D8FD-E514-5F01-00E6-8C4A22C89C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076" y="3311887"/>
              <a:ext cx="237118" cy="23422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9" name="TextBox 348">
              <a:extLst>
                <a:ext uri="{FF2B5EF4-FFF2-40B4-BE49-F238E27FC236}">
                  <a16:creationId xmlns:a16="http://schemas.microsoft.com/office/drawing/2014/main" id="{18D87126-1160-73C9-E23A-21DFDB52AE62}"/>
                </a:ext>
              </a:extLst>
            </p:cNvPr>
            <p:cNvSpPr txBox="1"/>
            <p:nvPr/>
          </p:nvSpPr>
          <p:spPr>
            <a:xfrm>
              <a:off x="108064" y="3284974"/>
              <a:ext cx="233142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2732110D-3092-5DDC-A295-5F08A7FBDBA4}"/>
              </a:ext>
            </a:extLst>
          </p:cNvPr>
          <p:cNvGrpSpPr/>
          <p:nvPr/>
        </p:nvGrpSpPr>
        <p:grpSpPr>
          <a:xfrm>
            <a:off x="5437401" y="3534712"/>
            <a:ext cx="237118" cy="276999"/>
            <a:chOff x="106076" y="3284974"/>
            <a:chExt cx="237118" cy="276999"/>
          </a:xfrm>
        </p:grpSpPr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2B5966C3-C391-3574-28EA-47FEC8368C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076" y="3311887"/>
              <a:ext cx="237118" cy="23422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4" name="TextBox 353">
              <a:extLst>
                <a:ext uri="{FF2B5EF4-FFF2-40B4-BE49-F238E27FC236}">
                  <a16:creationId xmlns:a16="http://schemas.microsoft.com/office/drawing/2014/main" id="{50FD2897-7BA4-6571-A841-47C8411829A0}"/>
                </a:ext>
              </a:extLst>
            </p:cNvPr>
            <p:cNvSpPr txBox="1"/>
            <p:nvPr/>
          </p:nvSpPr>
          <p:spPr>
            <a:xfrm>
              <a:off x="108064" y="3284974"/>
              <a:ext cx="233142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B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6" name="Group 355">
            <a:extLst>
              <a:ext uri="{FF2B5EF4-FFF2-40B4-BE49-F238E27FC236}">
                <a16:creationId xmlns:a16="http://schemas.microsoft.com/office/drawing/2014/main" id="{86515D9C-B185-B714-416A-58E5FAE8DB84}"/>
              </a:ext>
            </a:extLst>
          </p:cNvPr>
          <p:cNvGrpSpPr/>
          <p:nvPr/>
        </p:nvGrpSpPr>
        <p:grpSpPr>
          <a:xfrm>
            <a:off x="8019469" y="2036762"/>
            <a:ext cx="237118" cy="276999"/>
            <a:chOff x="106076" y="3284974"/>
            <a:chExt cx="237118" cy="276999"/>
          </a:xfrm>
        </p:grpSpPr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A63985AD-B2E2-723E-AB37-720D41F47E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076" y="3311887"/>
              <a:ext cx="237118" cy="23422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8" name="TextBox 357">
              <a:extLst>
                <a:ext uri="{FF2B5EF4-FFF2-40B4-BE49-F238E27FC236}">
                  <a16:creationId xmlns:a16="http://schemas.microsoft.com/office/drawing/2014/main" id="{53C641DD-0DAA-EEBE-11D4-E9C9587456B5}"/>
                </a:ext>
              </a:extLst>
            </p:cNvPr>
            <p:cNvSpPr txBox="1"/>
            <p:nvPr/>
          </p:nvSpPr>
          <p:spPr>
            <a:xfrm>
              <a:off x="108064" y="3284974"/>
              <a:ext cx="233142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9" name="Group 358">
            <a:extLst>
              <a:ext uri="{FF2B5EF4-FFF2-40B4-BE49-F238E27FC236}">
                <a16:creationId xmlns:a16="http://schemas.microsoft.com/office/drawing/2014/main" id="{6AB46D2A-716E-CD87-D780-8334FC8348C9}"/>
              </a:ext>
            </a:extLst>
          </p:cNvPr>
          <p:cNvGrpSpPr/>
          <p:nvPr/>
        </p:nvGrpSpPr>
        <p:grpSpPr>
          <a:xfrm>
            <a:off x="8019469" y="2657395"/>
            <a:ext cx="237118" cy="276999"/>
            <a:chOff x="106076" y="3284974"/>
            <a:chExt cx="237118" cy="276999"/>
          </a:xfrm>
        </p:grpSpPr>
        <p:sp>
          <p:nvSpPr>
            <p:cNvPr id="360" name="Oval 359">
              <a:extLst>
                <a:ext uri="{FF2B5EF4-FFF2-40B4-BE49-F238E27FC236}">
                  <a16:creationId xmlns:a16="http://schemas.microsoft.com/office/drawing/2014/main" id="{1EF97B62-B426-0E52-116A-000DEC8885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076" y="3311887"/>
              <a:ext cx="237118" cy="23422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1" name="TextBox 360">
              <a:extLst>
                <a:ext uri="{FF2B5EF4-FFF2-40B4-BE49-F238E27FC236}">
                  <a16:creationId xmlns:a16="http://schemas.microsoft.com/office/drawing/2014/main" id="{8F0E4C76-C52E-31C8-2B70-08CC90C0F22E}"/>
                </a:ext>
              </a:extLst>
            </p:cNvPr>
            <p:cNvSpPr txBox="1"/>
            <p:nvPr/>
          </p:nvSpPr>
          <p:spPr>
            <a:xfrm>
              <a:off x="108064" y="3284974"/>
              <a:ext cx="233142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B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04143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98EAB6-F189-B662-8D8A-223048F92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CD3D686-72E8-84E6-EF04-AE8F8A7F3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717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04" imgH="405" progId="TCLayout.ActiveDocument.1">
                  <p:embed/>
                </p:oleObj>
              </mc:Choice>
              <mc:Fallback>
                <p:oleObj name="think-cell Slide" r:id="rId21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D3D686-72E8-84E6-EF04-AE8F8A7F3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C65046-AC7D-D54F-8564-14709AD53B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SE5002 PROJECT 1 | FUTURE TEA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C8C2E9-8DCB-1E07-1D58-D6A3D6FFE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699" y="453306"/>
            <a:ext cx="11642268" cy="724949"/>
          </a:xfrm>
        </p:spPr>
        <p:txBody>
          <a:bodyPr vert="horz"/>
          <a:lstStyle/>
          <a:p>
            <a:r>
              <a:rPr lang="en-US" dirty="0"/>
              <a:t>The CEO should look globally for talent to scale the function; Canada, France, Great Britain and Spain provide attractive offshore location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34E74D3-A03A-B415-F22E-52EDE6BAA645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F13D1C-34AA-FE99-1002-A23F77CE4223}"/>
              </a:ext>
            </a:extLst>
          </p:cNvPr>
          <p:cNvSpPr/>
          <p:nvPr/>
        </p:nvSpPr>
        <p:spPr>
          <a:xfrm>
            <a:off x="7913690" y="1304924"/>
            <a:ext cx="3906148" cy="51434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5934C45-FCB8-7B79-0BD4-3BDDB637EAA6}"/>
              </a:ext>
            </a:extLst>
          </p:cNvPr>
          <p:cNvCxnSpPr>
            <a:cxnSpLocks/>
          </p:cNvCxnSpPr>
          <p:nvPr/>
        </p:nvCxnSpPr>
        <p:spPr>
          <a:xfrm>
            <a:off x="8062913" y="1871368"/>
            <a:ext cx="35861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6AA513B-2B53-A4BB-C5FD-E65478520146}"/>
              </a:ext>
            </a:extLst>
          </p:cNvPr>
          <p:cNvSpPr txBox="1"/>
          <p:nvPr/>
        </p:nvSpPr>
        <p:spPr>
          <a:xfrm>
            <a:off x="8018425" y="1527598"/>
            <a:ext cx="12953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Key Takeaway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08E671-2668-15E3-E1C1-8E467A2C3AFB}"/>
              </a:ext>
            </a:extLst>
          </p:cNvPr>
          <p:cNvSpPr txBox="1"/>
          <p:nvPr/>
        </p:nvSpPr>
        <p:spPr>
          <a:xfrm>
            <a:off x="353908" y="2066925"/>
            <a:ext cx="848178" cy="306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Job Title</a:t>
            </a:r>
            <a:endParaRPr lang="en-US" sz="14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BE390F9-E27E-D4E8-CE0A-804E2CCFBF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98550" y="2819400"/>
            <a:ext cx="1425476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ata Analys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F9FA079-CA62-FC65-ABE4-4A889B567E6D}"/>
              </a:ext>
            </a:extLst>
          </p:cNvPr>
          <p:cNvCxnSpPr>
            <a:cxnSpLocks/>
          </p:cNvCxnSpPr>
          <p:nvPr/>
        </p:nvCxnSpPr>
        <p:spPr>
          <a:xfrm>
            <a:off x="432541" y="2398713"/>
            <a:ext cx="72851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125EFEE-40A1-6B79-FDAA-C0BEC1366AD7}"/>
              </a:ext>
            </a:extLst>
          </p:cNvPr>
          <p:cNvCxnSpPr>
            <a:cxnSpLocks/>
          </p:cNvCxnSpPr>
          <p:nvPr/>
        </p:nvCxnSpPr>
        <p:spPr>
          <a:xfrm>
            <a:off x="353907" y="3690938"/>
            <a:ext cx="72851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9AC662-F810-A3FA-58BC-7D55BEFD5675}"/>
              </a:ext>
            </a:extLst>
          </p:cNvPr>
          <p:cNvCxnSpPr>
            <a:cxnSpLocks/>
          </p:cNvCxnSpPr>
          <p:nvPr/>
        </p:nvCxnSpPr>
        <p:spPr>
          <a:xfrm>
            <a:off x="353907" y="4776788"/>
            <a:ext cx="72851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13A30F9F-8A4F-520A-5D56-32E379635F6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98550" y="4054475"/>
            <a:ext cx="1425476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ata Engine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8277918-5AAE-5800-31F8-811B2566AB2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53906" y="5232400"/>
            <a:ext cx="14254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achine Learning Enginee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D312AE2-B2B2-370D-6429-BDC8CAC61830}"/>
              </a:ext>
            </a:extLst>
          </p:cNvPr>
          <p:cNvCxnSpPr>
            <a:cxnSpLocks/>
          </p:cNvCxnSpPr>
          <p:nvPr/>
        </p:nvCxnSpPr>
        <p:spPr>
          <a:xfrm>
            <a:off x="2171700" y="1885950"/>
            <a:ext cx="54673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F2F0815F-8B75-4024-87AA-87D356DCD57C}"/>
              </a:ext>
            </a:extLst>
          </p:cNvPr>
          <p:cNvSpPr txBox="1"/>
          <p:nvPr/>
        </p:nvSpPr>
        <p:spPr>
          <a:xfrm>
            <a:off x="3064674" y="1546607"/>
            <a:ext cx="40732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Avg. Salary, </a:t>
            </a:r>
            <a:r>
              <a:rPr lang="en-US" sz="1400" dirty="0"/>
              <a:t>by role and country, for SMBs</a:t>
            </a:r>
            <a:r>
              <a:rPr lang="en-US" sz="1400" baseline="30000" dirty="0"/>
              <a:t>1</a:t>
            </a:r>
            <a:r>
              <a:rPr lang="en-US" sz="1400" dirty="0"/>
              <a:t>, US$000s</a:t>
            </a:r>
          </a:p>
        </p:txBody>
      </p:sp>
      <p:graphicFrame>
        <p:nvGraphicFramePr>
          <p:cNvPr id="237" name="Chart 236">
            <a:extLst>
              <a:ext uri="{FF2B5EF4-FFF2-40B4-BE49-F238E27FC236}">
                <a16:creationId xmlns:a16="http://schemas.microsoft.com/office/drawing/2014/main" id="{CBAA723D-9035-C2F2-EF55-78A1023B1613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87273652"/>
              </p:ext>
            </p:extLst>
          </p:nvPr>
        </p:nvGraphicFramePr>
        <p:xfrm>
          <a:off x="1938338" y="2478088"/>
          <a:ext cx="5783262" cy="99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10" name="Rectangle 109">
            <a:extLst>
              <a:ext uri="{FF2B5EF4-FFF2-40B4-BE49-F238E27FC236}">
                <a16:creationId xmlns:a16="http://schemas.microsoft.com/office/drawing/2014/main" id="{C6205D91-524E-3994-4670-31D386899E43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075113" y="3290888"/>
            <a:ext cx="104775" cy="19208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bg1"/>
                </a:solidFill>
                <a:effectLst/>
              </a:rPr>
              <a:t>-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C74E797-A6FF-7E1D-F1D7-5EE3BE57517A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6819900" y="314801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C0007D7-35BC-4A4C-B00A-9EE5A1EA352F}" type="datetime'''''''''''''''''''''''''''''''38''''''''''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38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AD8C0E2F-18C4-0ED1-E636-633028B0CDA7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606675" y="299402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AE3DEE-9AF7-4897-BC52-AF5F3DFDD21B}" type="datetime'''8''''''''''''''''''0''''''''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C53C585C-E30A-D577-1B61-6ECB7737E6A9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416550" y="310197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02951F0-B0AD-43B4-83A2-57E91FD24C2A}" type="datetime'''''''''''5''''''''1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1</a:t>
            </a:fld>
            <a:endParaRPr lang="en-US" sz="1400" dirty="0">
              <a:solidFill>
                <a:schemeClr val="bg1"/>
              </a:solidFill>
            </a:endParaRPr>
          </a:p>
        </p:txBody>
      </p:sp>
      <p:graphicFrame>
        <p:nvGraphicFramePr>
          <p:cNvPr id="239" name="Chart 238">
            <a:extLst>
              <a:ext uri="{FF2B5EF4-FFF2-40B4-BE49-F238E27FC236}">
                <a16:creationId xmlns:a16="http://schemas.microsoft.com/office/drawing/2014/main" id="{C6101E3F-F7FF-33D4-2175-5051F7E9B47B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38535864"/>
              </p:ext>
            </p:extLst>
          </p:nvPr>
        </p:nvGraphicFramePr>
        <p:xfrm>
          <a:off x="1938338" y="3713163"/>
          <a:ext cx="5783262" cy="99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40" name="Rectangle 139">
            <a:extLst>
              <a:ext uri="{FF2B5EF4-FFF2-40B4-BE49-F238E27FC236}">
                <a16:creationId xmlns:a16="http://schemas.microsoft.com/office/drawing/2014/main" id="{0A27D087-BD8F-5378-63D5-3C07B47E0378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670175" y="4525963"/>
            <a:ext cx="104775" cy="19208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bg1"/>
                </a:solidFill>
              </a:rPr>
              <a:t>-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32D376BA-2E23-24FD-3322-EAB99DAF3AC0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011613" y="427196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C4C2A1-F832-4EE0-A9CE-1695B47C7D2D}" type="datetime'''''''''''''''''''6''''''''''''''''''''''''8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68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DFED970-5C57-524A-BB6B-B941C8EF144C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5416550" y="420687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1E25D7-9BC3-4FE2-AEDD-10DBA544F8A5}" type="datetime'''''''''''''''8''''''''''''''''6'''''''''''''''''">
              <a:rPr lang="en-US" altLang="en-US" sz="1400" smtClean="0">
                <a:solidFill>
                  <a:schemeClr val="bg1"/>
                </a:solidFill>
              </a:rPr>
              <a:pPr/>
              <a:t>86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839FFDDE-B51A-6DDF-B437-838ED07B1A1C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6819900" y="426561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791E68-D82F-49D5-94AA-5EC473771570}" type="datetime'''''''''''''''''''''7''''''0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70</a:t>
            </a:fld>
            <a:endParaRPr lang="en-US" sz="1400" dirty="0">
              <a:solidFill>
                <a:schemeClr val="bg1"/>
              </a:solidFill>
            </a:endParaRPr>
          </a:p>
        </p:txBody>
      </p:sp>
      <p:graphicFrame>
        <p:nvGraphicFramePr>
          <p:cNvPr id="240" name="Chart 239">
            <a:extLst>
              <a:ext uri="{FF2B5EF4-FFF2-40B4-BE49-F238E27FC236}">
                <a16:creationId xmlns:a16="http://schemas.microsoft.com/office/drawing/2014/main" id="{3784B3A6-33CC-B24B-74C3-EDCD2C045670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04911459"/>
              </p:ext>
            </p:extLst>
          </p:nvPr>
        </p:nvGraphicFramePr>
        <p:xfrm>
          <a:off x="1906588" y="5106988"/>
          <a:ext cx="5837237" cy="99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51" name="Rectangle 150">
            <a:extLst>
              <a:ext uri="{FF2B5EF4-FFF2-40B4-BE49-F238E27FC236}">
                <a16:creationId xmlns:a16="http://schemas.microsoft.com/office/drawing/2014/main" id="{DE11036E-8BE9-D269-1ACF-584583CF44A5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2644775" y="5919788"/>
            <a:ext cx="104775" cy="19208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bg1"/>
                </a:solidFill>
              </a:rPr>
              <a:t>-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3002C88D-8D80-FE05-31C8-07E88BE889CA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998913" y="5592763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7DC6B79-120E-45D3-83E3-B0DFA8B2CFA9}" type="datetime'''''''''''88''''''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88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9592B64E-47B5-38C6-F529-5ADA938D42EE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373688" y="550703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5CC5E56-93BB-42C1-965C-100220268558}" type="datetime'''''''''''1''''''''''''''''1''''''''''''''''''''''''''1'">
              <a:rPr lang="en-US" altLang="en-US" sz="1400" smtClean="0">
                <a:solidFill>
                  <a:schemeClr val="bg1"/>
                </a:solidFill>
              </a:rPr>
              <a:pPr/>
              <a:t>111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63109D76-7CD9-A82B-4330-B33DE456001D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835775" y="5743575"/>
            <a:ext cx="23177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AE1B220-1CE5-40D2-BC52-5FC23A7D30A2}" type="datetime'''''''''''4''''''''''''''''''''''''''''''''7'''''''''''">
              <a:rPr lang="en-US" altLang="en-US" sz="1400" smtClean="0">
                <a:solidFill>
                  <a:schemeClr val="bg1"/>
                </a:solidFill>
              </a:rPr>
              <a:pPr/>
              <a:t>47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5A6A760B-2702-171A-C5EA-4354FD729657}"/>
              </a:ext>
            </a:extLst>
          </p:cNvPr>
          <p:cNvSpPr txBox="1"/>
          <p:nvPr/>
        </p:nvSpPr>
        <p:spPr>
          <a:xfrm>
            <a:off x="8064500" y="1884510"/>
            <a:ext cx="3584258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he CEO should consider offshore candidates when looking to scale the analytics function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With the unit's culture established through local full-time employees (FTEs), the primary focus should be on capability building, which can be achieved cost-effectively through global talent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 One FTE should be considered from the following categories: Data Analyst, Data Engineer, and Machine Learning Engineer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he cost savings from offshoring enable the CEO to target mid-level roles with small to medium-sized business (SMB) experience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anada, France, Great Britain, and Spain are viable offshoring options due to their political stability, developed infrastructures, and large, educated, English-speaking population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Average salaries for Data Analysts range from $40,000 to $80,000; Data Engineers command between $65,000 and $85,000; and Machine Learning Engineers typically earn between $50,000 and $120,000</a:t>
            </a:r>
          </a:p>
        </p:txBody>
      </p: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134E2AEC-E17C-1BB3-47B6-EEB3BCDCF4F0}"/>
              </a:ext>
            </a:extLst>
          </p:cNvPr>
          <p:cNvGrpSpPr/>
          <p:nvPr/>
        </p:nvGrpSpPr>
        <p:grpSpPr>
          <a:xfrm>
            <a:off x="2282404" y="2066925"/>
            <a:ext cx="1016928" cy="306388"/>
            <a:chOff x="2155482" y="2066925"/>
            <a:chExt cx="1016928" cy="30638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8641051-7194-BEB3-DB98-F4E85078D8AF}"/>
                </a:ext>
              </a:extLst>
            </p:cNvPr>
            <p:cNvSpPr txBox="1"/>
            <p:nvPr/>
          </p:nvSpPr>
          <p:spPr>
            <a:xfrm>
              <a:off x="2436945" y="2066925"/>
              <a:ext cx="735465" cy="306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Canada</a:t>
              </a:r>
              <a:endParaRPr lang="en-US" sz="1400" dirty="0"/>
            </a:p>
          </p:txBody>
        </p:sp>
        <p:pic>
          <p:nvPicPr>
            <p:cNvPr id="1026" name="Picture 2" descr="Flag of Canada - Wikipedia">
              <a:extLst>
                <a:ext uri="{FF2B5EF4-FFF2-40B4-BE49-F238E27FC236}">
                  <a16:creationId xmlns:a16="http://schemas.microsoft.com/office/drawing/2014/main" id="{EE09D5B5-E6BC-1972-B4B2-BC93BCEF60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55482" y="2136958"/>
              <a:ext cx="332646" cy="166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F2B412C2-E8D5-1E82-7B0A-F557977B4B31}"/>
              </a:ext>
            </a:extLst>
          </p:cNvPr>
          <p:cNvGrpSpPr/>
          <p:nvPr/>
        </p:nvGrpSpPr>
        <p:grpSpPr>
          <a:xfrm>
            <a:off x="3647114" y="2066925"/>
            <a:ext cx="997819" cy="306388"/>
            <a:chOff x="3730066" y="2066925"/>
            <a:chExt cx="997819" cy="306388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1EB9608-C259-0906-1E99-0BA25E285B01}"/>
                </a:ext>
              </a:extLst>
            </p:cNvPr>
            <p:cNvSpPr txBox="1"/>
            <p:nvPr/>
          </p:nvSpPr>
          <p:spPr>
            <a:xfrm>
              <a:off x="4012249" y="2066925"/>
              <a:ext cx="715636" cy="306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France</a:t>
              </a:r>
              <a:endParaRPr lang="en-US" sz="1400" dirty="0"/>
            </a:p>
          </p:txBody>
        </p:sp>
        <p:pic>
          <p:nvPicPr>
            <p:cNvPr id="1028" name="Picture 4" descr="Flag of France | History &amp; Meaning | Britannica">
              <a:extLst>
                <a:ext uri="{FF2B5EF4-FFF2-40B4-BE49-F238E27FC236}">
                  <a16:creationId xmlns:a16="http://schemas.microsoft.com/office/drawing/2014/main" id="{E4F1F10D-FE1F-32A9-39CE-86A8F4F821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0066" y="2137113"/>
              <a:ext cx="332646" cy="166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DF4BC421-ED63-82B1-0A5D-8DE540978B86}"/>
              </a:ext>
            </a:extLst>
          </p:cNvPr>
          <p:cNvGrpSpPr/>
          <p:nvPr/>
        </p:nvGrpSpPr>
        <p:grpSpPr>
          <a:xfrm>
            <a:off x="4895000" y="2066925"/>
            <a:ext cx="1487716" cy="306388"/>
            <a:chOff x="5062116" y="2066925"/>
            <a:chExt cx="1487716" cy="306388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C3C70F8-C1BC-4F60-A486-B95FE6712F4F}"/>
                </a:ext>
              </a:extLst>
            </p:cNvPr>
            <p:cNvSpPr txBox="1"/>
            <p:nvPr/>
          </p:nvSpPr>
          <p:spPr>
            <a:xfrm>
              <a:off x="5341422" y="2066925"/>
              <a:ext cx="1208410" cy="306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Great Britain</a:t>
              </a:r>
              <a:endParaRPr lang="en-US" sz="1400" dirty="0"/>
            </a:p>
          </p:txBody>
        </p:sp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33BDC8BF-E598-C1AE-5205-230130E9B6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2116" y="2137113"/>
              <a:ext cx="332646" cy="166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748AF9CD-9329-388E-D012-3D5F488C6979}"/>
              </a:ext>
            </a:extLst>
          </p:cNvPr>
          <p:cNvGrpSpPr/>
          <p:nvPr/>
        </p:nvGrpSpPr>
        <p:grpSpPr>
          <a:xfrm>
            <a:off x="6549832" y="2066925"/>
            <a:ext cx="890118" cy="306388"/>
            <a:chOff x="6628939" y="2066925"/>
            <a:chExt cx="890118" cy="30638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BEA1D4-97F6-B92A-8022-D2700FD9973E}"/>
                </a:ext>
              </a:extLst>
            </p:cNvPr>
            <p:cNvSpPr txBox="1"/>
            <p:nvPr/>
          </p:nvSpPr>
          <p:spPr>
            <a:xfrm>
              <a:off x="6914960" y="2066925"/>
              <a:ext cx="604097" cy="306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Spain</a:t>
              </a:r>
              <a:endParaRPr lang="en-US" sz="1400" dirty="0"/>
            </a:p>
          </p:txBody>
        </p:sp>
        <p:pic>
          <p:nvPicPr>
            <p:cNvPr id="1034" name="Picture 10" descr="Flag of Spain - Wikipedia">
              <a:extLst>
                <a:ext uri="{FF2B5EF4-FFF2-40B4-BE49-F238E27FC236}">
                  <a16:creationId xmlns:a16="http://schemas.microsoft.com/office/drawing/2014/main" id="{A2E63E70-5989-08F6-E35F-A2CE3F5DD8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8939" y="2139099"/>
              <a:ext cx="332646" cy="162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6" name="TextBox 235">
            <a:extLst>
              <a:ext uri="{FF2B5EF4-FFF2-40B4-BE49-F238E27FC236}">
                <a16:creationId xmlns:a16="http://schemas.microsoft.com/office/drawing/2014/main" id="{6AFFCAA1-0FA1-72F3-5447-D1C228D42D31}"/>
              </a:ext>
            </a:extLst>
          </p:cNvPr>
          <p:cNvSpPr txBox="1"/>
          <p:nvPr/>
        </p:nvSpPr>
        <p:spPr>
          <a:xfrm>
            <a:off x="353906" y="6448425"/>
            <a:ext cx="40732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1. </a:t>
            </a:r>
            <a:r>
              <a:rPr lang="en-US" sz="900" dirty="0"/>
              <a:t>Small and medium-sized businesses</a:t>
            </a:r>
          </a:p>
        </p:txBody>
      </p:sp>
    </p:spTree>
    <p:extLst>
      <p:ext uri="{BB962C8B-B14F-4D97-AF65-F5344CB8AC3E}">
        <p14:creationId xmlns:p14="http://schemas.microsoft.com/office/powerpoint/2010/main" val="1411550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60D102-AA55-C315-929C-F1E787D168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940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60D102-AA55-C315-929C-F1E787D168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9A062F-85BE-F1F8-6145-F876EAC2A8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SE5002 PROJECT 1 | NEXT STEPS, CONSIDERATI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984DD2-0781-6FDD-A9F4-592D2B578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sources to consider when hiring global technical talen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8FB6397-83D5-90F9-CD4E-D32E9BA2E31B}"/>
              </a:ext>
            </a:extLst>
          </p:cNvPr>
          <p:cNvSpPr/>
          <p:nvPr/>
        </p:nvSpPr>
        <p:spPr>
          <a:xfrm>
            <a:off x="10708817" y="5623644"/>
            <a:ext cx="1200150" cy="10953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4F7FE9-BE1D-7CC5-5719-720E7E85DB7A}"/>
              </a:ext>
            </a:extLst>
          </p:cNvPr>
          <p:cNvCxnSpPr>
            <a:cxnSpLocks/>
          </p:cNvCxnSpPr>
          <p:nvPr/>
        </p:nvCxnSpPr>
        <p:spPr>
          <a:xfrm>
            <a:off x="437303" y="1562023"/>
            <a:ext cx="1131739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14C657A-0650-16FC-C24B-C5C3107BDF91}"/>
              </a:ext>
            </a:extLst>
          </p:cNvPr>
          <p:cNvSpPr txBox="1"/>
          <p:nvPr/>
        </p:nvSpPr>
        <p:spPr>
          <a:xfrm>
            <a:off x="313871" y="1254246"/>
            <a:ext cx="1353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Resource Type</a:t>
            </a:r>
            <a:endParaRPr lang="en-US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0D62D0-2165-7EFC-8721-61AC5FDA892D}"/>
              </a:ext>
            </a:extLst>
          </p:cNvPr>
          <p:cNvSpPr txBox="1"/>
          <p:nvPr/>
        </p:nvSpPr>
        <p:spPr>
          <a:xfrm>
            <a:off x="313871" y="1646586"/>
            <a:ext cx="11339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Recruitment firms</a:t>
            </a:r>
            <a:endParaRPr lang="en-US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72294B-5C60-DC8B-450D-A9AE0084C7E1}"/>
              </a:ext>
            </a:extLst>
          </p:cNvPr>
          <p:cNvSpPr txBox="1"/>
          <p:nvPr/>
        </p:nvSpPr>
        <p:spPr>
          <a:xfrm>
            <a:off x="313871" y="3007697"/>
            <a:ext cx="11339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Global hiring partners</a:t>
            </a:r>
            <a:endParaRPr lang="en-US" sz="14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27269F9-E8D2-E960-580C-7BF7C8ADBE9C}"/>
              </a:ext>
            </a:extLst>
          </p:cNvPr>
          <p:cNvSpPr txBox="1"/>
          <p:nvPr/>
        </p:nvSpPr>
        <p:spPr>
          <a:xfrm>
            <a:off x="1728257" y="1254246"/>
            <a:ext cx="1353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Description</a:t>
            </a:r>
            <a:endParaRPr lang="en-US" sz="14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DDDDFE8-1A06-7A4D-15F5-DC5CA105863A}"/>
              </a:ext>
            </a:extLst>
          </p:cNvPr>
          <p:cNvSpPr txBox="1"/>
          <p:nvPr/>
        </p:nvSpPr>
        <p:spPr>
          <a:xfrm>
            <a:off x="4057113" y="1254246"/>
            <a:ext cx="514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Pros</a:t>
            </a:r>
            <a:endParaRPr lang="en-US" sz="14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9DFCEB2-73CF-16B2-08F6-A408A0F6B8E8}"/>
              </a:ext>
            </a:extLst>
          </p:cNvPr>
          <p:cNvSpPr txBox="1"/>
          <p:nvPr/>
        </p:nvSpPr>
        <p:spPr>
          <a:xfrm>
            <a:off x="8046134" y="1254246"/>
            <a:ext cx="6036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Cons</a:t>
            </a:r>
            <a:endParaRPr lang="en-US" sz="1400" dirty="0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EF8821E-C624-80DC-0FB2-73C64F4E5795}"/>
              </a:ext>
            </a:extLst>
          </p:cNvPr>
          <p:cNvCxnSpPr>
            <a:cxnSpLocks/>
          </p:cNvCxnSpPr>
          <p:nvPr/>
        </p:nvCxnSpPr>
        <p:spPr>
          <a:xfrm>
            <a:off x="437303" y="2804195"/>
            <a:ext cx="1131739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89A610D0-70B8-50C2-8FB1-13F6CDB73DDD}"/>
              </a:ext>
            </a:extLst>
          </p:cNvPr>
          <p:cNvSpPr txBox="1"/>
          <p:nvPr/>
        </p:nvSpPr>
        <p:spPr>
          <a:xfrm>
            <a:off x="1728257" y="1646586"/>
            <a:ext cx="20483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3</a:t>
            </a:r>
            <a:r>
              <a:rPr lang="en-US" sz="1400" baseline="30000" dirty="0"/>
              <a:t>rd</a:t>
            </a:r>
            <a:r>
              <a:rPr lang="en-US" sz="1400" dirty="0"/>
              <a:t> party companies who source candidates on your behalf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8BAD722-B782-C33A-4648-37124AD28BB7}"/>
              </a:ext>
            </a:extLst>
          </p:cNvPr>
          <p:cNvSpPr txBox="1"/>
          <p:nvPr/>
        </p:nvSpPr>
        <p:spPr>
          <a:xfrm>
            <a:off x="1728257" y="3007697"/>
            <a:ext cx="20483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Platforms  / Services to hire and manage global employe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E3FFC33-3D97-D7A4-C862-850552526F6C}"/>
              </a:ext>
            </a:extLst>
          </p:cNvPr>
          <p:cNvSpPr txBox="1"/>
          <p:nvPr/>
        </p:nvSpPr>
        <p:spPr>
          <a:xfrm>
            <a:off x="4057113" y="1646586"/>
            <a:ext cx="37085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CVs you receive are often well-screen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Recruitment agencies often have robust candidate pipelines and knowledge of where to seek top tal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FD564F2-A86C-86C1-AF54-06816BF33881}"/>
              </a:ext>
            </a:extLst>
          </p:cNvPr>
          <p:cNvSpPr txBox="1"/>
          <p:nvPr/>
        </p:nvSpPr>
        <p:spPr>
          <a:xfrm>
            <a:off x="4057113" y="3007697"/>
            <a:ext cx="370856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Always compliant local labor law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Hire global FTE without creating an entity in each lo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Simplified employee payments and expense/benefits managemen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62ADD80-E5F9-FC90-91AD-19D9E86341F7}"/>
              </a:ext>
            </a:extLst>
          </p:cNvPr>
          <p:cNvSpPr txBox="1"/>
          <p:nvPr/>
        </p:nvSpPr>
        <p:spPr>
          <a:xfrm>
            <a:off x="8046134" y="1646586"/>
            <a:ext cx="37085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Expensive; agencies can charge more than 30% of a candidate's first-year sala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Recruiters may prioritize their commissions over optimal candidate selec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33FD4E8-A507-12F0-EB37-C292F53ADBA5}"/>
              </a:ext>
            </a:extLst>
          </p:cNvPr>
          <p:cNvSpPr txBox="1"/>
          <p:nvPr/>
        </p:nvSpPr>
        <p:spPr>
          <a:xfrm>
            <a:off x="8046134" y="3007697"/>
            <a:ext cx="37085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Cost per FTE can be expensive for initial global hi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Constant reliance on a third part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BA4FBB8-830D-2D16-2A58-DC27B47D4E37}"/>
              </a:ext>
            </a:extLst>
          </p:cNvPr>
          <p:cNvSpPr txBox="1"/>
          <p:nvPr/>
        </p:nvSpPr>
        <p:spPr>
          <a:xfrm>
            <a:off x="437303" y="4409412"/>
            <a:ext cx="2188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Sample Recruitment Firms</a:t>
            </a:r>
            <a:endParaRPr lang="en-US" sz="1400" dirty="0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AC6DFAE-8FA4-F108-6A87-7E717A6BAEB8}"/>
              </a:ext>
            </a:extLst>
          </p:cNvPr>
          <p:cNvCxnSpPr>
            <a:cxnSpLocks/>
          </p:cNvCxnSpPr>
          <p:nvPr/>
        </p:nvCxnSpPr>
        <p:spPr>
          <a:xfrm>
            <a:off x="437303" y="4762786"/>
            <a:ext cx="1131739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FF042968-D01F-E12E-4768-32871C27825D}"/>
              </a:ext>
            </a:extLst>
          </p:cNvPr>
          <p:cNvSpPr txBox="1"/>
          <p:nvPr/>
        </p:nvSpPr>
        <p:spPr>
          <a:xfrm>
            <a:off x="5803711" y="4409412"/>
            <a:ext cx="27186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Sample Global Hiring Partners</a:t>
            </a:r>
            <a:endParaRPr lang="en-US" sz="14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73A6E2C-BC10-C2D2-B763-CE13DF334D69}"/>
              </a:ext>
            </a:extLst>
          </p:cNvPr>
          <p:cNvSpPr txBox="1"/>
          <p:nvPr/>
        </p:nvSpPr>
        <p:spPr>
          <a:xfrm>
            <a:off x="437303" y="4816415"/>
            <a:ext cx="241234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Korn Fer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IQ Part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Randst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Hacker Ran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Nexus 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Data Spac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E772E86-5035-2F01-D8BA-EE4E13EF0657}"/>
              </a:ext>
            </a:extLst>
          </p:cNvPr>
          <p:cNvSpPr txBox="1"/>
          <p:nvPr/>
        </p:nvSpPr>
        <p:spPr>
          <a:xfrm>
            <a:off x="5896986" y="4816415"/>
            <a:ext cx="241234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De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Remote.co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Globalization Part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Papaya Glob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Rippl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FA76AFB-3A71-0C09-2992-ACC2A36015A4}"/>
              </a:ext>
            </a:extLst>
          </p:cNvPr>
          <p:cNvSpPr txBox="1"/>
          <p:nvPr/>
        </p:nvSpPr>
        <p:spPr>
          <a:xfrm>
            <a:off x="313874" y="6532195"/>
            <a:ext cx="59472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Source: </a:t>
            </a:r>
            <a:r>
              <a:rPr lang="en-US" sz="900" dirty="0"/>
              <a:t>Google Search, company websites</a:t>
            </a:r>
          </a:p>
        </p:txBody>
      </p:sp>
    </p:spTree>
    <p:extLst>
      <p:ext uri="{BB962C8B-B14F-4D97-AF65-F5344CB8AC3E}">
        <p14:creationId xmlns:p14="http://schemas.microsoft.com/office/powerpoint/2010/main" val="88160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JGnR_ZALoahoxezfUl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biN_Pc1subMPyba.Mj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M5oBJf.E0_oXCNpd.S_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VHv2F8TnQiFEdf0BoL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ydiMKuhX6kYfKEi8nl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xaasYHLTSkWpH.8DXS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20HHluHWtLF1F15itu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KqgzEvFjeV.BowsHbw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UErUCCMvVjbugi4Vut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0AkeEN5oO2laouCiOl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ekVcjPpFmxmW_m_5c5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k4s_lr.aieaa6.cEp8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cYr98xuYCjxAh3vl4D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CC4v5NDuQeNuDBeQbD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c.aqtIzi0cMhvk5bqR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0IVmEapqTx74gaPDg36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1j7IuIF8w0qZL70YA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AKLR3Lmlh.OkFYA3uO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LuwI3mmjAVEX8hKxup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kaqPIMJducWOe9gQzA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bBumUATpcdoZOqB6VN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wGV3kpIpdXhyKhAxXD9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c8k0FgsrErY1kbWc60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XBWuIY7EHznv9zMI1L7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MQ244jhOOE3_OxHu7N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aqnJg02nUOOpKHBKtNL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pXRBcHPdYcGLgD3SAG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1Wwclm5PqrJFe.AJCvJ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_YUrax66Bt9IHLEqco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ZhzrrUegRc65blsmrd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73j7CEDR4QuY91XOFN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jz5mZ56FpmvxcL0F6_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jNkWs0Dyq99j8eUg7C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uAPhu94Vmt1SygDQUq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DeJrYD.B2mU_bIZxXn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1_fde6HHb42xLGIWHXm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BntUd.oO8cHNP.J7xL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gWmyar2_SuNtBJPXtj9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8MKY9Jeizj8yfV51lf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aqnJg02nUOOpKHBKt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4CzmbltvChxORENpuxc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h0E_1CQOuIhqwGFt7V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bBuy4GCQp75sXtTRte8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96iJyPUSxEG.HShjrF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lWncxnIpg5yTu7nw_F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U5Pev3s9dFo0.jPPBw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ybPcZbQCM09.YqbwKYu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9Y21VoPaNr0rwaltjZ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9AfR9BndJY9MT3Jxwjm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.o3FEFjm5CIl5fnPpQ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KQTB_VrjNuo.ydcYg6b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DRvIDSA0R9KlfJGytB7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eTIAFHqy6pTPZgPbYEa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.uv_T5tzWUcFKqH_7_c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s78c.Yaajwm.waagfU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_m88j2Ekc74I03y3xm6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xOnXCzuaiTEylLtc6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xnbBgSna7iKeF2yNVaL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WZHYuGmlzssO4fmg0VO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nV8bDf.DGOzM7DHzrX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1Wwclm5PqrJFe.AJCvJ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cWK4sPFEAGaMHR2h7Fn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lc5Xo2jLfxUpyQIGsD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84tqitSL3hDAIC.969a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gUNpjrg23uGnX0vLt_s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Johg9.c.J2Ivm91nCh6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PpthKMWDxh6CQljKL62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_ad1DtUoemJ.m7rYiUe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qk06Sr53E2NpMYL.c1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qj3nuxmLHlLBm7dPF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ieVMXoKAIn89c98xCA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SFllwQ.kx.nYn4Pvnf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R6HoZYB9VZ45VXnqXY4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iZ2v711L7.zpc1Lr8wKg"/>
</p:tagLst>
</file>

<file path=ppt/theme/theme1.xml><?xml version="1.0" encoding="utf-8"?>
<a:theme xmlns:a="http://schemas.openxmlformats.org/drawingml/2006/main" name="Summit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weetWaterApopka_Opportunity Summary" id="{0933061B-3A63-4BF6-8B13-6CAF3FA95386}" vid="{F3150B78-4260-45FA-B5AF-E758FE7FFB9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ummit Template</Template>
  <TotalTime>3257</TotalTime>
  <Words>1050</Words>
  <Application>Microsoft Office PowerPoint</Application>
  <PresentationFormat>Widescreen</PresentationFormat>
  <Paragraphs>16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Arial Nova</vt:lpstr>
      <vt:lpstr>Calibri</vt:lpstr>
      <vt:lpstr>Summit Template</vt:lpstr>
      <vt:lpstr>think-cell Slide</vt:lpstr>
      <vt:lpstr>Executive Summary</vt:lpstr>
      <vt:lpstr>Knowing the key roles in data science helps us identify which job titles to prioritize for the first hires</vt:lpstr>
      <vt:lpstr>This report recommends establishing an internal analytics unit with two US-based FTE: a mid-level Data Engineer and a Senior Data Scientist</vt:lpstr>
      <vt:lpstr>The CEO should look globally for talent to scale the function; Canada, France, Great Britain and Spain provide attractive offshore locations</vt:lpstr>
      <vt:lpstr>Resources to consider when hiring global technical tal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J Grant</dc:creator>
  <cp:lastModifiedBy>PJ Grant</cp:lastModifiedBy>
  <cp:revision>2</cp:revision>
  <dcterms:created xsi:type="dcterms:W3CDTF">2024-11-29T17:37:10Z</dcterms:created>
  <dcterms:modified xsi:type="dcterms:W3CDTF">2024-12-01T23:5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4-11-29T17:37:19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da123193-cb2c-4874-9e5e-26a2f0c33d57</vt:lpwstr>
  </property>
  <property fmtid="{D5CDD505-2E9C-101B-9397-08002B2CF9AE}" pid="7" name="MSIP_Label_defa4170-0d19-0005-0004-bc88714345d2_ActionId">
    <vt:lpwstr>9393704b-a728-4e8f-912d-a08750c0bc48</vt:lpwstr>
  </property>
  <property fmtid="{D5CDD505-2E9C-101B-9397-08002B2CF9AE}" pid="8" name="MSIP_Label_defa4170-0d19-0005-0004-bc88714345d2_ContentBits">
    <vt:lpwstr>0</vt:lpwstr>
  </property>
</Properties>
</file>